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47"/>
  </p:notesMasterIdLst>
  <p:sldIdLst>
    <p:sldId id="257" r:id="rId2"/>
    <p:sldId id="258" r:id="rId3"/>
    <p:sldId id="302" r:id="rId4"/>
    <p:sldId id="259" r:id="rId5"/>
    <p:sldId id="299" r:id="rId6"/>
    <p:sldId id="293" r:id="rId7"/>
    <p:sldId id="294" r:id="rId8"/>
    <p:sldId id="295" r:id="rId9"/>
    <p:sldId id="296" r:id="rId10"/>
    <p:sldId id="297" r:id="rId11"/>
    <p:sldId id="298" r:id="rId12"/>
    <p:sldId id="310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7" r:id="rId30"/>
    <p:sldId id="288" r:id="rId31"/>
    <p:sldId id="311" r:id="rId32"/>
    <p:sldId id="312" r:id="rId33"/>
    <p:sldId id="291" r:id="rId34"/>
    <p:sldId id="301" r:id="rId35"/>
    <p:sldId id="309" r:id="rId36"/>
    <p:sldId id="306" r:id="rId37"/>
    <p:sldId id="262" r:id="rId38"/>
    <p:sldId id="263" r:id="rId39"/>
    <p:sldId id="264" r:id="rId40"/>
    <p:sldId id="265" r:id="rId41"/>
    <p:sldId id="266" r:id="rId42"/>
    <p:sldId id="267" r:id="rId43"/>
    <p:sldId id="305" r:id="rId44"/>
    <p:sldId id="268" r:id="rId45"/>
    <p:sldId id="308" r:id="rId4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7C56"/>
    <a:srgbClr val="44546A"/>
    <a:srgbClr val="6AAC91"/>
    <a:srgbClr val="F3AC1E"/>
    <a:srgbClr val="F0B270"/>
    <a:srgbClr val="FFC000"/>
    <a:srgbClr val="29A3FF"/>
    <a:srgbClr val="BF95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7AC3CCA-C797-4891-BE02-D94E43425B78}" styleName="Style moye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5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61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image" Target="../media/image16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116.jpeg"/><Relationship Id="rId1" Type="http://schemas.openxmlformats.org/officeDocument/2006/relationships/image" Target="../media/image115.pn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8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image" Target="../media/image120.png"/><Relationship Id="rId1" Type="http://schemas.openxmlformats.org/officeDocument/2006/relationships/image" Target="../media/image119.jpe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2.png"/></Relationships>
</file>

<file path=ppt/diagrams/_rels/data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1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image" Target="../media/image16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116.jpeg"/><Relationship Id="rId1" Type="http://schemas.openxmlformats.org/officeDocument/2006/relationships/image" Target="../media/image115.pn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8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image" Target="../media/image120.png"/><Relationship Id="rId1" Type="http://schemas.openxmlformats.org/officeDocument/2006/relationships/image" Target="../media/image119.jpe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2.png"/></Relationships>
</file>

<file path=ppt/diagrams/_rels/drawing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896F0F-741B-49B6-B831-D4C9B3AED840}" type="doc">
      <dgm:prSet loTypeId="urn:microsoft.com/office/officeart/2005/8/layout/chevron2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8D8C4A16-A8D1-4A1E-9E4C-EBFD085B8C16}">
      <dgm:prSet phldrT="[Texte]"/>
      <dgm:spPr/>
      <dgm:t>
        <a:bodyPr/>
        <a:lstStyle/>
        <a:p>
          <a:r>
            <a:rPr lang="fr-FR" dirty="0" smtClean="0"/>
            <a:t>1</a:t>
          </a:r>
          <a:endParaRPr lang="fr-FR" dirty="0"/>
        </a:p>
      </dgm:t>
    </dgm:pt>
    <dgm:pt modelId="{185642FB-4099-4C94-9D2E-BB06737745A7}" type="parTrans" cxnId="{725B8485-C619-4C9C-864F-57CE3B532558}">
      <dgm:prSet/>
      <dgm:spPr/>
      <dgm:t>
        <a:bodyPr/>
        <a:lstStyle/>
        <a:p>
          <a:endParaRPr lang="fr-FR"/>
        </a:p>
      </dgm:t>
    </dgm:pt>
    <dgm:pt modelId="{22D6ACFD-827A-4BE6-A0D2-DC99A29C64A4}" type="sibTrans" cxnId="{725B8485-C619-4C9C-864F-57CE3B532558}">
      <dgm:prSet/>
      <dgm:spPr/>
      <dgm:t>
        <a:bodyPr/>
        <a:lstStyle/>
        <a:p>
          <a:endParaRPr lang="fr-FR"/>
        </a:p>
      </dgm:t>
    </dgm:pt>
    <dgm:pt modelId="{1B7E5592-DC18-4E83-AB83-35C6E7F09EF2}">
      <dgm:prSet phldrT="[Texte]"/>
      <dgm:spPr/>
      <dgm:t>
        <a:bodyPr/>
        <a:lstStyle/>
        <a:p>
          <a:r>
            <a:rPr lang="fr-FR" dirty="0" smtClean="0"/>
            <a:t>INTRODUCTION</a:t>
          </a:r>
          <a:endParaRPr lang="fr-FR" dirty="0"/>
        </a:p>
      </dgm:t>
    </dgm:pt>
    <dgm:pt modelId="{6D177237-FC34-48F7-A1EF-C8390874452B}" type="parTrans" cxnId="{12A3543A-36F5-4DBF-B8FA-541E90A3DC65}">
      <dgm:prSet/>
      <dgm:spPr/>
      <dgm:t>
        <a:bodyPr/>
        <a:lstStyle/>
        <a:p>
          <a:endParaRPr lang="fr-FR"/>
        </a:p>
      </dgm:t>
    </dgm:pt>
    <dgm:pt modelId="{E4A35AC8-0D30-4BC8-B6AB-E1B44A011479}" type="sibTrans" cxnId="{12A3543A-36F5-4DBF-B8FA-541E90A3DC65}">
      <dgm:prSet/>
      <dgm:spPr/>
      <dgm:t>
        <a:bodyPr/>
        <a:lstStyle/>
        <a:p>
          <a:endParaRPr lang="fr-FR"/>
        </a:p>
      </dgm:t>
    </dgm:pt>
    <dgm:pt modelId="{79FD38D6-DC71-44DE-B1F2-ED4A7F2F9542}">
      <dgm:prSet phldrT="[Texte]"/>
      <dgm:spPr/>
      <dgm:t>
        <a:bodyPr/>
        <a:lstStyle/>
        <a:p>
          <a:r>
            <a:rPr lang="fr-FR" dirty="0" smtClean="0"/>
            <a:t>2</a:t>
          </a:r>
          <a:endParaRPr lang="fr-FR" dirty="0"/>
        </a:p>
      </dgm:t>
    </dgm:pt>
    <dgm:pt modelId="{8D2A77FB-F7F3-4E8F-8EE5-18E3829B843D}" type="parTrans" cxnId="{AB52CFE5-CDFE-4B79-AE8C-E1B2C28F161A}">
      <dgm:prSet/>
      <dgm:spPr/>
      <dgm:t>
        <a:bodyPr/>
        <a:lstStyle/>
        <a:p>
          <a:endParaRPr lang="fr-FR"/>
        </a:p>
      </dgm:t>
    </dgm:pt>
    <dgm:pt modelId="{8EF87BCE-A2EA-4E03-AFE1-AE1B5F7059F0}" type="sibTrans" cxnId="{AB52CFE5-CDFE-4B79-AE8C-E1B2C28F161A}">
      <dgm:prSet/>
      <dgm:spPr/>
      <dgm:t>
        <a:bodyPr/>
        <a:lstStyle/>
        <a:p>
          <a:endParaRPr lang="fr-FR"/>
        </a:p>
      </dgm:t>
    </dgm:pt>
    <dgm:pt modelId="{39A16C6F-29A4-4212-85B6-6E714B0B9B54}">
      <dgm:prSet phldrT="[Texte]"/>
      <dgm:spPr/>
      <dgm:t>
        <a:bodyPr/>
        <a:lstStyle/>
        <a:p>
          <a:r>
            <a:rPr lang="fr-FR" dirty="0" smtClean="0"/>
            <a:t>ETAT DES LIEUX</a:t>
          </a:r>
          <a:endParaRPr lang="fr-FR" dirty="0"/>
        </a:p>
      </dgm:t>
    </dgm:pt>
    <dgm:pt modelId="{4D9CDD8B-8000-41BC-9DEF-8D991F8FFD26}" type="parTrans" cxnId="{A6561D93-663F-4A2E-98B5-BBCD85852069}">
      <dgm:prSet/>
      <dgm:spPr/>
      <dgm:t>
        <a:bodyPr/>
        <a:lstStyle/>
        <a:p>
          <a:endParaRPr lang="fr-FR"/>
        </a:p>
      </dgm:t>
    </dgm:pt>
    <dgm:pt modelId="{3383CA1D-7C3D-43BE-BADD-3187C95DF6E7}" type="sibTrans" cxnId="{A6561D93-663F-4A2E-98B5-BBCD85852069}">
      <dgm:prSet/>
      <dgm:spPr/>
      <dgm:t>
        <a:bodyPr/>
        <a:lstStyle/>
        <a:p>
          <a:endParaRPr lang="fr-FR"/>
        </a:p>
      </dgm:t>
    </dgm:pt>
    <dgm:pt modelId="{D6ECB208-34DE-4F3A-B8F7-D351DA87C88A}">
      <dgm:prSet phldrT="[Texte]"/>
      <dgm:spPr/>
      <dgm:t>
        <a:bodyPr/>
        <a:lstStyle/>
        <a:p>
          <a:r>
            <a:rPr lang="fr-FR" dirty="0" smtClean="0"/>
            <a:t>3</a:t>
          </a:r>
          <a:endParaRPr lang="fr-FR" dirty="0"/>
        </a:p>
      </dgm:t>
    </dgm:pt>
    <dgm:pt modelId="{BB02EE20-F5EE-4B2D-BEB7-9F3F0B08465F}" type="parTrans" cxnId="{9D596CBD-DA25-4493-B15F-C951B21F8687}">
      <dgm:prSet/>
      <dgm:spPr/>
      <dgm:t>
        <a:bodyPr/>
        <a:lstStyle/>
        <a:p>
          <a:endParaRPr lang="fr-FR"/>
        </a:p>
      </dgm:t>
    </dgm:pt>
    <dgm:pt modelId="{CEFCE0EA-78C2-4DC4-B9D7-D13A4AF6E582}" type="sibTrans" cxnId="{9D596CBD-DA25-4493-B15F-C951B21F8687}">
      <dgm:prSet/>
      <dgm:spPr/>
      <dgm:t>
        <a:bodyPr/>
        <a:lstStyle/>
        <a:p>
          <a:endParaRPr lang="fr-FR"/>
        </a:p>
      </dgm:t>
    </dgm:pt>
    <dgm:pt modelId="{BF5903A1-FCAB-4565-B767-C50364A3365E}">
      <dgm:prSet phldrT="[Texte]"/>
      <dgm:spPr/>
      <dgm:t>
        <a:bodyPr/>
        <a:lstStyle/>
        <a:p>
          <a:r>
            <a:rPr lang="fr-FR" dirty="0" smtClean="0"/>
            <a:t>ENJEUX ET PERSPECTIVES</a:t>
          </a:r>
          <a:endParaRPr lang="fr-FR" dirty="0"/>
        </a:p>
      </dgm:t>
    </dgm:pt>
    <dgm:pt modelId="{D2363F9F-5090-4C4C-944F-D8C520269B9E}" type="parTrans" cxnId="{AED667EF-0ABA-428F-BEE8-CA3F33455937}">
      <dgm:prSet/>
      <dgm:spPr/>
      <dgm:t>
        <a:bodyPr/>
        <a:lstStyle/>
        <a:p>
          <a:endParaRPr lang="fr-FR"/>
        </a:p>
      </dgm:t>
    </dgm:pt>
    <dgm:pt modelId="{167DE422-8665-46A1-A14D-8C894B86A866}" type="sibTrans" cxnId="{AED667EF-0ABA-428F-BEE8-CA3F33455937}">
      <dgm:prSet/>
      <dgm:spPr/>
      <dgm:t>
        <a:bodyPr/>
        <a:lstStyle/>
        <a:p>
          <a:endParaRPr lang="fr-FR"/>
        </a:p>
      </dgm:t>
    </dgm:pt>
    <dgm:pt modelId="{14948803-C916-4B30-B53C-6C5CC8B5AA26}">
      <dgm:prSet/>
      <dgm:spPr/>
      <dgm:t>
        <a:bodyPr/>
        <a:lstStyle/>
        <a:p>
          <a:r>
            <a:rPr lang="fr-FR" dirty="0" smtClean="0"/>
            <a:t>4</a:t>
          </a:r>
          <a:endParaRPr lang="fr-FR" dirty="0"/>
        </a:p>
      </dgm:t>
    </dgm:pt>
    <dgm:pt modelId="{4C1F4F3A-0E5A-4B87-A8DE-ABCB6A201346}" type="parTrans" cxnId="{42AE1DEE-B07D-4E82-A171-D8B1D74368E8}">
      <dgm:prSet/>
      <dgm:spPr/>
      <dgm:t>
        <a:bodyPr/>
        <a:lstStyle/>
        <a:p>
          <a:endParaRPr lang="fr-FR"/>
        </a:p>
      </dgm:t>
    </dgm:pt>
    <dgm:pt modelId="{E6802001-36A7-42E0-B1A3-E38218150B4A}" type="sibTrans" cxnId="{42AE1DEE-B07D-4E82-A171-D8B1D74368E8}">
      <dgm:prSet/>
      <dgm:spPr/>
      <dgm:t>
        <a:bodyPr/>
        <a:lstStyle/>
        <a:p>
          <a:endParaRPr lang="fr-FR"/>
        </a:p>
      </dgm:t>
    </dgm:pt>
    <dgm:pt modelId="{B4DF976C-B8CA-44D6-B786-51BDC549987C}">
      <dgm:prSet/>
      <dgm:spPr/>
      <dgm:t>
        <a:bodyPr/>
        <a:lstStyle/>
        <a:p>
          <a:r>
            <a:rPr lang="fr-FR" dirty="0" smtClean="0"/>
            <a:t>CONCLUSION</a:t>
          </a:r>
          <a:endParaRPr lang="fr-FR" dirty="0"/>
        </a:p>
      </dgm:t>
    </dgm:pt>
    <dgm:pt modelId="{5A416F1C-84F4-4A01-93E5-4FE967604BDB}" type="parTrans" cxnId="{37B4D860-F975-4864-B660-E8DC5C02CF19}">
      <dgm:prSet/>
      <dgm:spPr/>
      <dgm:t>
        <a:bodyPr/>
        <a:lstStyle/>
        <a:p>
          <a:endParaRPr lang="fr-FR"/>
        </a:p>
      </dgm:t>
    </dgm:pt>
    <dgm:pt modelId="{6030DB2D-6EC8-470B-B6A4-87B7AFF8BF83}" type="sibTrans" cxnId="{37B4D860-F975-4864-B660-E8DC5C02CF19}">
      <dgm:prSet/>
      <dgm:spPr/>
      <dgm:t>
        <a:bodyPr/>
        <a:lstStyle/>
        <a:p>
          <a:endParaRPr lang="fr-FR"/>
        </a:p>
      </dgm:t>
    </dgm:pt>
    <dgm:pt modelId="{BB80FEBB-AB82-49EA-ABE0-FA66DC335999}" type="pres">
      <dgm:prSet presAssocID="{CF896F0F-741B-49B6-B831-D4C9B3AED840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AB00ECCF-31AD-4AB1-A616-BD9A7605E2DB}" type="pres">
      <dgm:prSet presAssocID="{8D8C4A16-A8D1-4A1E-9E4C-EBFD085B8C16}" presName="composite" presStyleCnt="0"/>
      <dgm:spPr/>
    </dgm:pt>
    <dgm:pt modelId="{E2FF4C0E-1198-498C-BFEC-78F2A56184E0}" type="pres">
      <dgm:prSet presAssocID="{8D8C4A16-A8D1-4A1E-9E4C-EBFD085B8C16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2947D27-30C9-49A3-824D-F5595BC77246}" type="pres">
      <dgm:prSet presAssocID="{8D8C4A16-A8D1-4A1E-9E4C-EBFD085B8C16}" presName="descendantText" presStyleLbl="alignAcc1" presStyleIdx="0" presStyleCnt="4" custLinFactNeighborX="37" custLinFactNeighborY="-3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1BB0518-0A86-47B3-9F6E-AD5204FD87DA}" type="pres">
      <dgm:prSet presAssocID="{22D6ACFD-827A-4BE6-A0D2-DC99A29C64A4}" presName="sp" presStyleCnt="0"/>
      <dgm:spPr/>
    </dgm:pt>
    <dgm:pt modelId="{282A0659-53E8-40ED-9A61-1BDB6F027C5E}" type="pres">
      <dgm:prSet presAssocID="{79FD38D6-DC71-44DE-B1F2-ED4A7F2F9542}" presName="composite" presStyleCnt="0"/>
      <dgm:spPr/>
    </dgm:pt>
    <dgm:pt modelId="{47131AB8-2E4B-4FEC-8AD7-460A691EBCE3}" type="pres">
      <dgm:prSet presAssocID="{79FD38D6-DC71-44DE-B1F2-ED4A7F2F9542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A8BDFA1-36A0-4A30-8FA9-9D68E288CEB7}" type="pres">
      <dgm:prSet presAssocID="{79FD38D6-DC71-44DE-B1F2-ED4A7F2F9542}" presName="descendantText" presStyleLbl="alignAcc1" presStyleIdx="1" presStyleCnt="4" custLinFactNeighborX="-511" custLinFactNeighborY="1697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C49D1B-76B2-44E3-B31E-577262CF5700}" type="pres">
      <dgm:prSet presAssocID="{8EF87BCE-A2EA-4E03-AFE1-AE1B5F7059F0}" presName="sp" presStyleCnt="0"/>
      <dgm:spPr/>
    </dgm:pt>
    <dgm:pt modelId="{D3494590-9C8B-44B2-B5FC-247715A8C0E7}" type="pres">
      <dgm:prSet presAssocID="{D6ECB208-34DE-4F3A-B8F7-D351DA87C88A}" presName="composite" presStyleCnt="0"/>
      <dgm:spPr/>
    </dgm:pt>
    <dgm:pt modelId="{532D5C44-E69C-4392-A120-4BF52D534FE9}" type="pres">
      <dgm:prSet presAssocID="{D6ECB208-34DE-4F3A-B8F7-D351DA87C88A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1523ABE-0B32-4587-8248-8ACC41BA3811}" type="pres">
      <dgm:prSet presAssocID="{D6ECB208-34DE-4F3A-B8F7-D351DA87C88A}" presName="descendantText" presStyleLbl="alignAcc1" presStyleIdx="2" presStyleCnt="4" custLinFactNeighborX="1308" custLinFactNeighborY="1457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2BCE213-2411-4381-992E-7BAA9CA4C1FB}" type="pres">
      <dgm:prSet presAssocID="{CEFCE0EA-78C2-4DC4-B9D7-D13A4AF6E582}" presName="sp" presStyleCnt="0"/>
      <dgm:spPr/>
    </dgm:pt>
    <dgm:pt modelId="{39FB0ADE-A877-4A6E-9E71-9B0BCFDCCBE9}" type="pres">
      <dgm:prSet presAssocID="{14948803-C916-4B30-B53C-6C5CC8B5AA26}" presName="composite" presStyleCnt="0"/>
      <dgm:spPr/>
    </dgm:pt>
    <dgm:pt modelId="{B28417F6-79F8-4334-890C-9304B2AE3619}" type="pres">
      <dgm:prSet presAssocID="{14948803-C916-4B30-B53C-6C5CC8B5AA26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C206FAA-BCF7-489C-8289-2373AB46C5F1}" type="pres">
      <dgm:prSet presAssocID="{14948803-C916-4B30-B53C-6C5CC8B5AA26}" presName="descendantText" presStyleLbl="alignAcc1" presStyleIdx="3" presStyleCnt="4" custLinFactNeighborX="-511" custLinFactNeighborY="597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F6A922C9-7EED-475D-97CB-7E425E53618B}" type="presOf" srcId="{14948803-C916-4B30-B53C-6C5CC8B5AA26}" destId="{B28417F6-79F8-4334-890C-9304B2AE3619}" srcOrd="0" destOrd="0" presId="urn:microsoft.com/office/officeart/2005/8/layout/chevron2"/>
    <dgm:cxn modelId="{42AE1DEE-B07D-4E82-A171-D8B1D74368E8}" srcId="{CF896F0F-741B-49B6-B831-D4C9B3AED840}" destId="{14948803-C916-4B30-B53C-6C5CC8B5AA26}" srcOrd="3" destOrd="0" parTransId="{4C1F4F3A-0E5A-4B87-A8DE-ABCB6A201346}" sibTransId="{E6802001-36A7-42E0-B1A3-E38218150B4A}"/>
    <dgm:cxn modelId="{A6561D93-663F-4A2E-98B5-BBCD85852069}" srcId="{79FD38D6-DC71-44DE-B1F2-ED4A7F2F9542}" destId="{39A16C6F-29A4-4212-85B6-6E714B0B9B54}" srcOrd="0" destOrd="0" parTransId="{4D9CDD8B-8000-41BC-9DEF-8D991F8FFD26}" sibTransId="{3383CA1D-7C3D-43BE-BADD-3187C95DF6E7}"/>
    <dgm:cxn modelId="{725B8485-C619-4C9C-864F-57CE3B532558}" srcId="{CF896F0F-741B-49B6-B831-D4C9B3AED840}" destId="{8D8C4A16-A8D1-4A1E-9E4C-EBFD085B8C16}" srcOrd="0" destOrd="0" parTransId="{185642FB-4099-4C94-9D2E-BB06737745A7}" sibTransId="{22D6ACFD-827A-4BE6-A0D2-DC99A29C64A4}"/>
    <dgm:cxn modelId="{2B836AAB-C6A5-4991-B590-1B74AB8B725F}" type="presOf" srcId="{B4DF976C-B8CA-44D6-B786-51BDC549987C}" destId="{7C206FAA-BCF7-489C-8289-2373AB46C5F1}" srcOrd="0" destOrd="0" presId="urn:microsoft.com/office/officeart/2005/8/layout/chevron2"/>
    <dgm:cxn modelId="{14101BF6-6AFE-4691-83C6-2C6A1CC1A47F}" type="presOf" srcId="{79FD38D6-DC71-44DE-B1F2-ED4A7F2F9542}" destId="{47131AB8-2E4B-4FEC-8AD7-460A691EBCE3}" srcOrd="0" destOrd="0" presId="urn:microsoft.com/office/officeart/2005/8/layout/chevron2"/>
    <dgm:cxn modelId="{12A3543A-36F5-4DBF-B8FA-541E90A3DC65}" srcId="{8D8C4A16-A8D1-4A1E-9E4C-EBFD085B8C16}" destId="{1B7E5592-DC18-4E83-AB83-35C6E7F09EF2}" srcOrd="0" destOrd="0" parTransId="{6D177237-FC34-48F7-A1EF-C8390874452B}" sibTransId="{E4A35AC8-0D30-4BC8-B6AB-E1B44A011479}"/>
    <dgm:cxn modelId="{E6351BBD-9B60-4061-A7EC-0857423F179B}" type="presOf" srcId="{D6ECB208-34DE-4F3A-B8F7-D351DA87C88A}" destId="{532D5C44-E69C-4392-A120-4BF52D534FE9}" srcOrd="0" destOrd="0" presId="urn:microsoft.com/office/officeart/2005/8/layout/chevron2"/>
    <dgm:cxn modelId="{AED667EF-0ABA-428F-BEE8-CA3F33455937}" srcId="{D6ECB208-34DE-4F3A-B8F7-D351DA87C88A}" destId="{BF5903A1-FCAB-4565-B767-C50364A3365E}" srcOrd="0" destOrd="0" parTransId="{D2363F9F-5090-4C4C-944F-D8C520269B9E}" sibTransId="{167DE422-8665-46A1-A14D-8C894B86A866}"/>
    <dgm:cxn modelId="{4E5671DC-0A80-4C48-932C-8AAFEAACE1D8}" type="presOf" srcId="{8D8C4A16-A8D1-4A1E-9E4C-EBFD085B8C16}" destId="{E2FF4C0E-1198-498C-BFEC-78F2A56184E0}" srcOrd="0" destOrd="0" presId="urn:microsoft.com/office/officeart/2005/8/layout/chevron2"/>
    <dgm:cxn modelId="{042DC1D4-3587-4B50-AE39-4B6316620DA4}" type="presOf" srcId="{BF5903A1-FCAB-4565-B767-C50364A3365E}" destId="{31523ABE-0B32-4587-8248-8ACC41BA3811}" srcOrd="0" destOrd="0" presId="urn:microsoft.com/office/officeart/2005/8/layout/chevron2"/>
    <dgm:cxn modelId="{9D596CBD-DA25-4493-B15F-C951B21F8687}" srcId="{CF896F0F-741B-49B6-B831-D4C9B3AED840}" destId="{D6ECB208-34DE-4F3A-B8F7-D351DA87C88A}" srcOrd="2" destOrd="0" parTransId="{BB02EE20-F5EE-4B2D-BEB7-9F3F0B08465F}" sibTransId="{CEFCE0EA-78C2-4DC4-B9D7-D13A4AF6E582}"/>
    <dgm:cxn modelId="{D901EFFD-E8FE-491D-B06A-0E7660782CB5}" type="presOf" srcId="{39A16C6F-29A4-4212-85B6-6E714B0B9B54}" destId="{5A8BDFA1-36A0-4A30-8FA9-9D68E288CEB7}" srcOrd="0" destOrd="0" presId="urn:microsoft.com/office/officeart/2005/8/layout/chevron2"/>
    <dgm:cxn modelId="{AB52CFE5-CDFE-4B79-AE8C-E1B2C28F161A}" srcId="{CF896F0F-741B-49B6-B831-D4C9B3AED840}" destId="{79FD38D6-DC71-44DE-B1F2-ED4A7F2F9542}" srcOrd="1" destOrd="0" parTransId="{8D2A77FB-F7F3-4E8F-8EE5-18E3829B843D}" sibTransId="{8EF87BCE-A2EA-4E03-AFE1-AE1B5F7059F0}"/>
    <dgm:cxn modelId="{37B4D860-F975-4864-B660-E8DC5C02CF19}" srcId="{14948803-C916-4B30-B53C-6C5CC8B5AA26}" destId="{B4DF976C-B8CA-44D6-B786-51BDC549987C}" srcOrd="0" destOrd="0" parTransId="{5A416F1C-84F4-4A01-93E5-4FE967604BDB}" sibTransId="{6030DB2D-6EC8-470B-B6A4-87B7AFF8BF83}"/>
    <dgm:cxn modelId="{A4E4CA9B-5DE9-422D-8362-D7A82EFB85F6}" type="presOf" srcId="{1B7E5592-DC18-4E83-AB83-35C6E7F09EF2}" destId="{22947D27-30C9-49A3-824D-F5595BC77246}" srcOrd="0" destOrd="0" presId="urn:microsoft.com/office/officeart/2005/8/layout/chevron2"/>
    <dgm:cxn modelId="{80C3E83C-AA47-4786-9806-93D61D1D41F5}" type="presOf" srcId="{CF896F0F-741B-49B6-B831-D4C9B3AED840}" destId="{BB80FEBB-AB82-49EA-ABE0-FA66DC335999}" srcOrd="0" destOrd="0" presId="urn:microsoft.com/office/officeart/2005/8/layout/chevron2"/>
    <dgm:cxn modelId="{92BC38E7-C1F6-4480-BF56-EDCEAEC1834D}" type="presParOf" srcId="{BB80FEBB-AB82-49EA-ABE0-FA66DC335999}" destId="{AB00ECCF-31AD-4AB1-A616-BD9A7605E2DB}" srcOrd="0" destOrd="0" presId="urn:microsoft.com/office/officeart/2005/8/layout/chevron2"/>
    <dgm:cxn modelId="{5D59E38E-8888-42A0-A279-E95FEA9FEF10}" type="presParOf" srcId="{AB00ECCF-31AD-4AB1-A616-BD9A7605E2DB}" destId="{E2FF4C0E-1198-498C-BFEC-78F2A56184E0}" srcOrd="0" destOrd="0" presId="urn:microsoft.com/office/officeart/2005/8/layout/chevron2"/>
    <dgm:cxn modelId="{05DEE835-2E8B-48C5-8C69-B5007D4C6C8C}" type="presParOf" srcId="{AB00ECCF-31AD-4AB1-A616-BD9A7605E2DB}" destId="{22947D27-30C9-49A3-824D-F5595BC77246}" srcOrd="1" destOrd="0" presId="urn:microsoft.com/office/officeart/2005/8/layout/chevron2"/>
    <dgm:cxn modelId="{CA84AEE4-5D87-4F0F-91B8-06267199FA6D}" type="presParOf" srcId="{BB80FEBB-AB82-49EA-ABE0-FA66DC335999}" destId="{41BB0518-0A86-47B3-9F6E-AD5204FD87DA}" srcOrd="1" destOrd="0" presId="urn:microsoft.com/office/officeart/2005/8/layout/chevron2"/>
    <dgm:cxn modelId="{F3D5FCC2-4372-4358-8464-513233B9CBD4}" type="presParOf" srcId="{BB80FEBB-AB82-49EA-ABE0-FA66DC335999}" destId="{282A0659-53E8-40ED-9A61-1BDB6F027C5E}" srcOrd="2" destOrd="0" presId="urn:microsoft.com/office/officeart/2005/8/layout/chevron2"/>
    <dgm:cxn modelId="{CFA947C2-CE4B-47A1-97E3-7805FDAD3ACF}" type="presParOf" srcId="{282A0659-53E8-40ED-9A61-1BDB6F027C5E}" destId="{47131AB8-2E4B-4FEC-8AD7-460A691EBCE3}" srcOrd="0" destOrd="0" presId="urn:microsoft.com/office/officeart/2005/8/layout/chevron2"/>
    <dgm:cxn modelId="{F67D0515-397F-4E38-8A78-417772FC2D1A}" type="presParOf" srcId="{282A0659-53E8-40ED-9A61-1BDB6F027C5E}" destId="{5A8BDFA1-36A0-4A30-8FA9-9D68E288CEB7}" srcOrd="1" destOrd="0" presId="urn:microsoft.com/office/officeart/2005/8/layout/chevron2"/>
    <dgm:cxn modelId="{C1B7E716-23BB-49ED-9DEF-3F4125E0FBAD}" type="presParOf" srcId="{BB80FEBB-AB82-49EA-ABE0-FA66DC335999}" destId="{28C49D1B-76B2-44E3-B31E-577262CF5700}" srcOrd="3" destOrd="0" presId="urn:microsoft.com/office/officeart/2005/8/layout/chevron2"/>
    <dgm:cxn modelId="{D2E589A8-CD06-404E-B741-4D06DE3F09E5}" type="presParOf" srcId="{BB80FEBB-AB82-49EA-ABE0-FA66DC335999}" destId="{D3494590-9C8B-44B2-B5FC-247715A8C0E7}" srcOrd="4" destOrd="0" presId="urn:microsoft.com/office/officeart/2005/8/layout/chevron2"/>
    <dgm:cxn modelId="{1B5322D9-29B5-431E-AB8F-1E56061902C3}" type="presParOf" srcId="{D3494590-9C8B-44B2-B5FC-247715A8C0E7}" destId="{532D5C44-E69C-4392-A120-4BF52D534FE9}" srcOrd="0" destOrd="0" presId="urn:microsoft.com/office/officeart/2005/8/layout/chevron2"/>
    <dgm:cxn modelId="{AF767D9C-F8C9-4E36-B45D-F3D5AA6FE730}" type="presParOf" srcId="{D3494590-9C8B-44B2-B5FC-247715A8C0E7}" destId="{31523ABE-0B32-4587-8248-8ACC41BA3811}" srcOrd="1" destOrd="0" presId="urn:microsoft.com/office/officeart/2005/8/layout/chevron2"/>
    <dgm:cxn modelId="{7B096C66-8585-44D1-8F31-187A4FFC40C5}" type="presParOf" srcId="{BB80FEBB-AB82-49EA-ABE0-FA66DC335999}" destId="{F2BCE213-2411-4381-992E-7BAA9CA4C1FB}" srcOrd="5" destOrd="0" presId="urn:microsoft.com/office/officeart/2005/8/layout/chevron2"/>
    <dgm:cxn modelId="{B75EDB80-5651-48AE-ACF9-3C7C858E548C}" type="presParOf" srcId="{BB80FEBB-AB82-49EA-ABE0-FA66DC335999}" destId="{39FB0ADE-A877-4A6E-9E71-9B0BCFDCCBE9}" srcOrd="6" destOrd="0" presId="urn:microsoft.com/office/officeart/2005/8/layout/chevron2"/>
    <dgm:cxn modelId="{3FEC4A79-ACF7-42EA-9953-7557D9BCAABE}" type="presParOf" srcId="{39FB0ADE-A877-4A6E-9E71-9B0BCFDCCBE9}" destId="{B28417F6-79F8-4334-890C-9304B2AE3619}" srcOrd="0" destOrd="0" presId="urn:microsoft.com/office/officeart/2005/8/layout/chevron2"/>
    <dgm:cxn modelId="{1EFB0ACE-875E-4C6E-AAB0-D4E373D96C9F}" type="presParOf" srcId="{39FB0ADE-A877-4A6E-9E71-9B0BCFDCCBE9}" destId="{7C206FAA-BCF7-489C-8289-2373AB46C5F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BDEF2B55-8FC8-47D7-A92E-34590436D970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E904C74A-9788-4F2C-AD85-5D97766E7681}">
      <dgm:prSet phldrT="[Texte]"/>
      <dgm:spPr/>
      <dgm:t>
        <a:bodyPr/>
        <a:lstStyle/>
        <a:p>
          <a:r>
            <a:rPr lang="fr-FR" dirty="0" smtClean="0"/>
            <a:t>FORCES</a:t>
          </a:r>
          <a:endParaRPr lang="fr-FR" dirty="0"/>
        </a:p>
      </dgm:t>
    </dgm:pt>
    <dgm:pt modelId="{D35E0E28-7498-4107-B184-91961B092443}" type="parTrans" cxnId="{9B39E421-003E-4171-88B8-9AB6F0F052C4}">
      <dgm:prSet/>
      <dgm:spPr/>
      <dgm:t>
        <a:bodyPr/>
        <a:lstStyle/>
        <a:p>
          <a:endParaRPr lang="fr-FR"/>
        </a:p>
      </dgm:t>
    </dgm:pt>
    <dgm:pt modelId="{01E12D71-3D0C-4EC8-8EBA-CB41871AF8F8}" type="sibTrans" cxnId="{9B39E421-003E-4171-88B8-9AB6F0F052C4}">
      <dgm:prSet/>
      <dgm:spPr/>
      <dgm:t>
        <a:bodyPr/>
        <a:lstStyle/>
        <a:p>
          <a:endParaRPr lang="fr-FR"/>
        </a:p>
      </dgm:t>
    </dgm:pt>
    <dgm:pt modelId="{26FE06B2-C5CE-43F1-8EFE-4CFA02B7E17B}">
      <dgm:prSet phldrT="[Texte]"/>
      <dgm:spPr/>
      <dgm:t>
        <a:bodyPr/>
        <a:lstStyle/>
        <a:p>
          <a:r>
            <a:rPr lang="fr-FR" dirty="0" smtClean="0"/>
            <a:t>Projet stratégique porté par l’Etat</a:t>
          </a:r>
          <a:endParaRPr lang="fr-FR" dirty="0"/>
        </a:p>
      </dgm:t>
    </dgm:pt>
    <dgm:pt modelId="{B4A4B8E3-5E1F-49C7-B9B1-B0129BED5EC0}" type="parTrans" cxnId="{0973C571-BBCF-429C-A8D2-2B7BBFAC9550}">
      <dgm:prSet/>
      <dgm:spPr/>
      <dgm:t>
        <a:bodyPr/>
        <a:lstStyle/>
        <a:p>
          <a:endParaRPr lang="fr-FR"/>
        </a:p>
      </dgm:t>
    </dgm:pt>
    <dgm:pt modelId="{88E58612-FDFC-46A5-85B8-FC5E42B0B5D8}" type="sibTrans" cxnId="{0973C571-BBCF-429C-A8D2-2B7BBFAC9550}">
      <dgm:prSet/>
      <dgm:spPr/>
      <dgm:t>
        <a:bodyPr/>
        <a:lstStyle/>
        <a:p>
          <a:endParaRPr lang="fr-FR"/>
        </a:p>
      </dgm:t>
    </dgm:pt>
    <dgm:pt modelId="{EB5781A4-386C-41CF-90AB-DCAB4770C74F}">
      <dgm:prSet phldrT="[Texte]"/>
      <dgm:spPr/>
      <dgm:t>
        <a:bodyPr/>
        <a:lstStyle/>
        <a:p>
          <a:r>
            <a:rPr lang="fr-FR" dirty="0" smtClean="0"/>
            <a:t>Partenaire professionnel</a:t>
          </a:r>
          <a:endParaRPr lang="fr-FR" dirty="0"/>
        </a:p>
      </dgm:t>
    </dgm:pt>
    <dgm:pt modelId="{FAAF4FA1-D4DF-4F82-9DE7-2362126CDBEF}" type="parTrans" cxnId="{80107D01-4761-488C-A216-6988D4AC4CC9}">
      <dgm:prSet/>
      <dgm:spPr/>
      <dgm:t>
        <a:bodyPr/>
        <a:lstStyle/>
        <a:p>
          <a:endParaRPr lang="fr-FR"/>
        </a:p>
      </dgm:t>
    </dgm:pt>
    <dgm:pt modelId="{E4EC1771-EBF8-4ED1-960F-BCDF719BBCAA}" type="sibTrans" cxnId="{80107D01-4761-488C-A216-6988D4AC4CC9}">
      <dgm:prSet/>
      <dgm:spPr/>
      <dgm:t>
        <a:bodyPr/>
        <a:lstStyle/>
        <a:p>
          <a:endParaRPr lang="fr-FR"/>
        </a:p>
      </dgm:t>
    </dgm:pt>
    <dgm:pt modelId="{14E060D6-108B-48B5-A188-D4FCCCF604A0}">
      <dgm:prSet phldrT="[Texte]"/>
      <dgm:spPr/>
      <dgm:t>
        <a:bodyPr/>
        <a:lstStyle/>
        <a:p>
          <a:r>
            <a:rPr lang="fr-FR" dirty="0" smtClean="0"/>
            <a:t>OPPORTUNITES</a:t>
          </a:r>
          <a:endParaRPr lang="fr-FR" dirty="0"/>
        </a:p>
      </dgm:t>
    </dgm:pt>
    <dgm:pt modelId="{99EAB2EA-4FED-4E96-8096-6ED8D599CBB3}" type="parTrans" cxnId="{93C58CCC-4815-4ADC-A6E5-33D097676AFC}">
      <dgm:prSet/>
      <dgm:spPr/>
      <dgm:t>
        <a:bodyPr/>
        <a:lstStyle/>
        <a:p>
          <a:endParaRPr lang="fr-FR"/>
        </a:p>
      </dgm:t>
    </dgm:pt>
    <dgm:pt modelId="{46769716-F03A-4D50-B402-FCF32D58CEB7}" type="sibTrans" cxnId="{93C58CCC-4815-4ADC-A6E5-33D097676AFC}">
      <dgm:prSet/>
      <dgm:spPr/>
      <dgm:t>
        <a:bodyPr/>
        <a:lstStyle/>
        <a:p>
          <a:endParaRPr lang="fr-FR"/>
        </a:p>
      </dgm:t>
    </dgm:pt>
    <dgm:pt modelId="{8DD51F80-A210-4E38-B88D-028B5B7AE9B3}">
      <dgm:prSet phldrT="[Texte]"/>
      <dgm:spPr/>
      <dgm:t>
        <a:bodyPr/>
        <a:lstStyle/>
        <a:p>
          <a:r>
            <a:rPr lang="fr-FR" dirty="0" smtClean="0"/>
            <a:t>Augmentation sensible du trafic</a:t>
          </a:r>
          <a:endParaRPr lang="fr-FR" dirty="0"/>
        </a:p>
      </dgm:t>
    </dgm:pt>
    <dgm:pt modelId="{1B31979D-56BC-45B0-A2EA-BB7EDAB0C35D}" type="parTrans" cxnId="{BD560C4C-E7C4-40B7-B126-DE028DA74F58}">
      <dgm:prSet/>
      <dgm:spPr/>
      <dgm:t>
        <a:bodyPr/>
        <a:lstStyle/>
        <a:p>
          <a:endParaRPr lang="fr-FR"/>
        </a:p>
      </dgm:t>
    </dgm:pt>
    <dgm:pt modelId="{3A897492-ADE5-4BC5-B8E1-B62BF94BEE7F}" type="sibTrans" cxnId="{BD560C4C-E7C4-40B7-B126-DE028DA74F58}">
      <dgm:prSet/>
      <dgm:spPr/>
      <dgm:t>
        <a:bodyPr/>
        <a:lstStyle/>
        <a:p>
          <a:endParaRPr lang="fr-FR"/>
        </a:p>
      </dgm:t>
    </dgm:pt>
    <dgm:pt modelId="{0CF4907E-38EA-45A8-B568-D3766A520C90}">
      <dgm:prSet phldrT="[Texte]"/>
      <dgm:spPr/>
      <dgm:t>
        <a:bodyPr/>
        <a:lstStyle/>
        <a:p>
          <a:r>
            <a:rPr lang="fr-FR" dirty="0" smtClean="0"/>
            <a:t>Création d’un hub aérien</a:t>
          </a:r>
          <a:endParaRPr lang="fr-FR" dirty="0"/>
        </a:p>
      </dgm:t>
    </dgm:pt>
    <dgm:pt modelId="{EE929C22-7579-46B2-A7CE-A9C942A953A7}" type="parTrans" cxnId="{FFE857D6-1350-4D46-9888-486516586BE4}">
      <dgm:prSet/>
      <dgm:spPr/>
      <dgm:t>
        <a:bodyPr/>
        <a:lstStyle/>
        <a:p>
          <a:endParaRPr lang="fr-FR"/>
        </a:p>
      </dgm:t>
    </dgm:pt>
    <dgm:pt modelId="{DF7B68AD-1287-432B-9EAD-662AE8DD6747}" type="sibTrans" cxnId="{FFE857D6-1350-4D46-9888-486516586BE4}">
      <dgm:prSet/>
      <dgm:spPr/>
      <dgm:t>
        <a:bodyPr/>
        <a:lstStyle/>
        <a:p>
          <a:endParaRPr lang="fr-FR"/>
        </a:p>
      </dgm:t>
    </dgm:pt>
    <dgm:pt modelId="{6BDEABF5-7DF9-4F91-AF26-0EF794E88F14}">
      <dgm:prSet/>
      <dgm:spPr/>
      <dgm:t>
        <a:bodyPr/>
        <a:lstStyle/>
        <a:p>
          <a:r>
            <a:rPr lang="fr-FR" dirty="0" smtClean="0"/>
            <a:t>Stabilité politique du pays</a:t>
          </a:r>
          <a:endParaRPr lang="fr-FR" dirty="0"/>
        </a:p>
      </dgm:t>
    </dgm:pt>
    <dgm:pt modelId="{E2F77E48-FBD5-47CB-BD4B-BDBD2F814E82}" type="parTrans" cxnId="{0AE4325E-956C-4485-8CC4-F4E933DBE91A}">
      <dgm:prSet/>
      <dgm:spPr/>
      <dgm:t>
        <a:bodyPr/>
        <a:lstStyle/>
        <a:p>
          <a:endParaRPr lang="fr-FR"/>
        </a:p>
      </dgm:t>
    </dgm:pt>
    <dgm:pt modelId="{D696B53F-A99C-49B1-A2A6-6CFF63276F30}" type="sibTrans" cxnId="{0AE4325E-956C-4485-8CC4-F4E933DBE91A}">
      <dgm:prSet/>
      <dgm:spPr/>
      <dgm:t>
        <a:bodyPr/>
        <a:lstStyle/>
        <a:p>
          <a:endParaRPr lang="fr-FR"/>
        </a:p>
      </dgm:t>
    </dgm:pt>
    <dgm:pt modelId="{72AF7F4B-958C-446F-A01E-FBB0AE9A1084}">
      <dgm:prSet/>
      <dgm:spPr/>
      <dgm:t>
        <a:bodyPr/>
        <a:lstStyle/>
        <a:p>
          <a:r>
            <a:rPr lang="fr-FR" dirty="0" smtClean="0"/>
            <a:t>Pôle économique dynamique</a:t>
          </a:r>
          <a:endParaRPr lang="fr-FR" dirty="0"/>
        </a:p>
      </dgm:t>
    </dgm:pt>
    <dgm:pt modelId="{43D3270E-126D-4191-845C-75913860EA3D}" type="parTrans" cxnId="{8273445B-7166-4D4B-91D9-0FB9D995993C}">
      <dgm:prSet/>
      <dgm:spPr/>
      <dgm:t>
        <a:bodyPr/>
        <a:lstStyle/>
        <a:p>
          <a:endParaRPr lang="fr-FR"/>
        </a:p>
      </dgm:t>
    </dgm:pt>
    <dgm:pt modelId="{1F832577-1983-4012-9EE1-DE8E2D62C96A}" type="sibTrans" cxnId="{8273445B-7166-4D4B-91D9-0FB9D995993C}">
      <dgm:prSet/>
      <dgm:spPr/>
      <dgm:t>
        <a:bodyPr/>
        <a:lstStyle/>
        <a:p>
          <a:endParaRPr lang="fr-FR"/>
        </a:p>
      </dgm:t>
    </dgm:pt>
    <dgm:pt modelId="{69221D01-E0D5-4E8E-91F7-59735F130217}">
      <dgm:prSet/>
      <dgm:spPr/>
      <dgm:t>
        <a:bodyPr/>
        <a:lstStyle/>
        <a:p>
          <a:r>
            <a:rPr lang="fr-FR" dirty="0" smtClean="0"/>
            <a:t>Position stratégique</a:t>
          </a:r>
          <a:endParaRPr lang="fr-FR" dirty="0"/>
        </a:p>
      </dgm:t>
    </dgm:pt>
    <dgm:pt modelId="{72E67A82-8346-4B8C-AC7D-FE08F8EA6845}" type="parTrans" cxnId="{70CE7D4C-AA5C-431D-81F0-27687404653E}">
      <dgm:prSet/>
      <dgm:spPr/>
      <dgm:t>
        <a:bodyPr/>
        <a:lstStyle/>
        <a:p>
          <a:endParaRPr lang="fr-FR"/>
        </a:p>
      </dgm:t>
    </dgm:pt>
    <dgm:pt modelId="{8C579BBE-EB1D-45B5-BD22-177CBE2BB8CE}" type="sibTrans" cxnId="{70CE7D4C-AA5C-431D-81F0-27687404653E}">
      <dgm:prSet/>
      <dgm:spPr/>
      <dgm:t>
        <a:bodyPr/>
        <a:lstStyle/>
        <a:p>
          <a:endParaRPr lang="fr-FR"/>
        </a:p>
      </dgm:t>
    </dgm:pt>
    <dgm:pt modelId="{2DA94954-BD62-4C4B-9AEE-C755D0163349}" type="pres">
      <dgm:prSet presAssocID="{BDEF2B55-8FC8-47D7-A92E-34590436D970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3BF68AB3-3DDE-4719-BE9C-2D036F5BF93B}" type="pres">
      <dgm:prSet presAssocID="{E904C74A-9788-4F2C-AD85-5D97766E7681}" presName="root" presStyleCnt="0"/>
      <dgm:spPr/>
    </dgm:pt>
    <dgm:pt modelId="{A84475D2-C2F0-4C3D-A58A-F074749D9CAF}" type="pres">
      <dgm:prSet presAssocID="{E904C74A-9788-4F2C-AD85-5D97766E7681}" presName="rootComposite" presStyleCnt="0"/>
      <dgm:spPr/>
    </dgm:pt>
    <dgm:pt modelId="{465BFF95-89A9-41A2-BBCF-1409A4258A92}" type="pres">
      <dgm:prSet presAssocID="{E904C74A-9788-4F2C-AD85-5D97766E7681}" presName="rootText" presStyleLbl="node1" presStyleIdx="0" presStyleCnt="2" custLinFactNeighborX="-731" custLinFactNeighborY="-49484"/>
      <dgm:spPr/>
      <dgm:t>
        <a:bodyPr/>
        <a:lstStyle/>
        <a:p>
          <a:endParaRPr lang="fr-FR"/>
        </a:p>
      </dgm:t>
    </dgm:pt>
    <dgm:pt modelId="{E1E63469-B424-432D-9FF6-1A3BDE5D5ABB}" type="pres">
      <dgm:prSet presAssocID="{E904C74A-9788-4F2C-AD85-5D97766E7681}" presName="rootConnector" presStyleLbl="node1" presStyleIdx="0" presStyleCnt="2"/>
      <dgm:spPr/>
      <dgm:t>
        <a:bodyPr/>
        <a:lstStyle/>
        <a:p>
          <a:endParaRPr lang="fr-FR"/>
        </a:p>
      </dgm:t>
    </dgm:pt>
    <dgm:pt modelId="{161C7578-4585-4585-86A7-E7798CF32A48}" type="pres">
      <dgm:prSet presAssocID="{E904C74A-9788-4F2C-AD85-5D97766E7681}" presName="childShape" presStyleCnt="0"/>
      <dgm:spPr/>
    </dgm:pt>
    <dgm:pt modelId="{431255A2-70B7-412F-9309-51DC8757FBF2}" type="pres">
      <dgm:prSet presAssocID="{B4A4B8E3-5E1F-49C7-B9B1-B0129BED5EC0}" presName="Name13" presStyleLbl="parChTrans1D2" presStyleIdx="0" presStyleCnt="7"/>
      <dgm:spPr/>
      <dgm:t>
        <a:bodyPr/>
        <a:lstStyle/>
        <a:p>
          <a:endParaRPr lang="fr-FR"/>
        </a:p>
      </dgm:t>
    </dgm:pt>
    <dgm:pt modelId="{826ACA5F-863E-4EBA-83F5-60E80F15DC82}" type="pres">
      <dgm:prSet presAssocID="{26FE06B2-C5CE-43F1-8EFE-4CFA02B7E17B}" presName="childText" presStyleLbl="bgAcc1" presStyleIdx="0" presStyleCnt="7" custLinFactNeighborX="-745" custLinFactNeighborY="125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091FDE-4344-420B-B819-9A5ABCA778DC}" type="pres">
      <dgm:prSet presAssocID="{FAAF4FA1-D4DF-4F82-9DE7-2362126CDBEF}" presName="Name13" presStyleLbl="parChTrans1D2" presStyleIdx="1" presStyleCnt="7"/>
      <dgm:spPr/>
      <dgm:t>
        <a:bodyPr/>
        <a:lstStyle/>
        <a:p>
          <a:endParaRPr lang="fr-FR"/>
        </a:p>
      </dgm:t>
    </dgm:pt>
    <dgm:pt modelId="{0FE4570B-E43F-4470-98CF-1861EF97309F}" type="pres">
      <dgm:prSet presAssocID="{EB5781A4-386C-41CF-90AB-DCAB4770C74F}" presName="childText" presStyleLbl="bgAcc1" presStyleIdx="1" presStyleCnt="7" custLinFactNeighborX="-745" custLinFactNeighborY="-171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B430B2D-C096-4D04-8708-360C59D4C399}" type="pres">
      <dgm:prSet presAssocID="{E2F77E48-FBD5-47CB-BD4B-BDBD2F814E82}" presName="Name13" presStyleLbl="parChTrans1D2" presStyleIdx="2" presStyleCnt="7"/>
      <dgm:spPr/>
      <dgm:t>
        <a:bodyPr/>
        <a:lstStyle/>
        <a:p>
          <a:endParaRPr lang="fr-FR"/>
        </a:p>
      </dgm:t>
    </dgm:pt>
    <dgm:pt modelId="{1D86276E-218D-402E-948F-E15D7D97DB7D}" type="pres">
      <dgm:prSet presAssocID="{6BDEABF5-7DF9-4F91-AF26-0EF794E88F14}" presName="childText" presStyleLbl="bgAcc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C92D238-5DD7-4D5F-8C1B-B7C08B439999}" type="pres">
      <dgm:prSet presAssocID="{72E67A82-8346-4B8C-AC7D-FE08F8EA6845}" presName="Name13" presStyleLbl="parChTrans1D2" presStyleIdx="3" presStyleCnt="7"/>
      <dgm:spPr/>
      <dgm:t>
        <a:bodyPr/>
        <a:lstStyle/>
        <a:p>
          <a:endParaRPr lang="fr-FR"/>
        </a:p>
      </dgm:t>
    </dgm:pt>
    <dgm:pt modelId="{8BA22102-93FE-4E5B-9F4D-0CFFFC192D30}" type="pres">
      <dgm:prSet presAssocID="{69221D01-E0D5-4E8E-91F7-59735F130217}" presName="childText" presStyleLbl="bgAcc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F5E8EAE-B146-4912-B930-5FA29EC47D25}" type="pres">
      <dgm:prSet presAssocID="{14E060D6-108B-48B5-A188-D4FCCCF604A0}" presName="root" presStyleCnt="0"/>
      <dgm:spPr/>
    </dgm:pt>
    <dgm:pt modelId="{855D8931-851F-4E3D-BD25-4C3F33EB5C0D}" type="pres">
      <dgm:prSet presAssocID="{14E060D6-108B-48B5-A188-D4FCCCF604A0}" presName="rootComposite" presStyleCnt="0"/>
      <dgm:spPr/>
    </dgm:pt>
    <dgm:pt modelId="{F7D42698-7B38-4169-97D8-7D65DE5AD129}" type="pres">
      <dgm:prSet presAssocID="{14E060D6-108B-48B5-A188-D4FCCCF604A0}" presName="rootText" presStyleLbl="node1" presStyleIdx="1" presStyleCnt="2" custLinFactNeighborX="88" custLinFactNeighborY="-45402"/>
      <dgm:spPr/>
      <dgm:t>
        <a:bodyPr/>
        <a:lstStyle/>
        <a:p>
          <a:endParaRPr lang="fr-FR"/>
        </a:p>
      </dgm:t>
    </dgm:pt>
    <dgm:pt modelId="{CDC20BC0-747C-4265-BBF2-C0F138A14DED}" type="pres">
      <dgm:prSet presAssocID="{14E060D6-108B-48B5-A188-D4FCCCF604A0}" presName="rootConnector" presStyleLbl="node1" presStyleIdx="1" presStyleCnt="2"/>
      <dgm:spPr/>
      <dgm:t>
        <a:bodyPr/>
        <a:lstStyle/>
        <a:p>
          <a:endParaRPr lang="fr-FR"/>
        </a:p>
      </dgm:t>
    </dgm:pt>
    <dgm:pt modelId="{D2E0B25D-9552-4EEE-9FC5-D208DF725AD3}" type="pres">
      <dgm:prSet presAssocID="{14E060D6-108B-48B5-A188-D4FCCCF604A0}" presName="childShape" presStyleCnt="0"/>
      <dgm:spPr/>
    </dgm:pt>
    <dgm:pt modelId="{ECB67C4E-C62A-48AB-9233-C5816B8CBEA4}" type="pres">
      <dgm:prSet presAssocID="{1B31979D-56BC-45B0-A2EA-BB7EDAB0C35D}" presName="Name13" presStyleLbl="parChTrans1D2" presStyleIdx="4" presStyleCnt="7"/>
      <dgm:spPr/>
      <dgm:t>
        <a:bodyPr/>
        <a:lstStyle/>
        <a:p>
          <a:endParaRPr lang="fr-FR"/>
        </a:p>
      </dgm:t>
    </dgm:pt>
    <dgm:pt modelId="{E380D719-DF09-4DF3-AA57-735A1B7D49B2}" type="pres">
      <dgm:prSet presAssocID="{8DD51F80-A210-4E38-B88D-028B5B7AE9B3}" presName="childText" presStyleLbl="bgAcc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0E9D874-C8C3-420E-B6FA-07F9F800CBA4}" type="pres">
      <dgm:prSet presAssocID="{EE929C22-7579-46B2-A7CE-A9C942A953A7}" presName="Name13" presStyleLbl="parChTrans1D2" presStyleIdx="5" presStyleCnt="7"/>
      <dgm:spPr/>
      <dgm:t>
        <a:bodyPr/>
        <a:lstStyle/>
        <a:p>
          <a:endParaRPr lang="fr-FR"/>
        </a:p>
      </dgm:t>
    </dgm:pt>
    <dgm:pt modelId="{36894903-4779-4EED-8DB3-D7FCBADFF082}" type="pres">
      <dgm:prSet presAssocID="{0CF4907E-38EA-45A8-B568-D3766A520C90}" presName="childText" presStyleLbl="bgAcc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EF94B5B-BF58-4DB7-9FA9-5E61F45878B6}" type="pres">
      <dgm:prSet presAssocID="{43D3270E-126D-4191-845C-75913860EA3D}" presName="Name13" presStyleLbl="parChTrans1D2" presStyleIdx="6" presStyleCnt="7"/>
      <dgm:spPr/>
      <dgm:t>
        <a:bodyPr/>
        <a:lstStyle/>
        <a:p>
          <a:endParaRPr lang="fr-FR"/>
        </a:p>
      </dgm:t>
    </dgm:pt>
    <dgm:pt modelId="{5B0BF81B-FA42-4A34-B8D7-DA0EAA27C2CE}" type="pres">
      <dgm:prSet presAssocID="{72AF7F4B-958C-446F-A01E-FBB0AE9A1084}" presName="childText" presStyleLbl="bgAcc1" presStyleIdx="6" presStyleCnt="7" custLinFactNeighborX="1420" custLinFactNeighborY="-467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363001B-5A71-4869-9E2C-E6E23C7CB5E2}" type="presOf" srcId="{6BDEABF5-7DF9-4F91-AF26-0EF794E88F14}" destId="{1D86276E-218D-402E-948F-E15D7D97DB7D}" srcOrd="0" destOrd="0" presId="urn:microsoft.com/office/officeart/2005/8/layout/hierarchy3"/>
    <dgm:cxn modelId="{93C58CCC-4815-4ADC-A6E5-33D097676AFC}" srcId="{BDEF2B55-8FC8-47D7-A92E-34590436D970}" destId="{14E060D6-108B-48B5-A188-D4FCCCF604A0}" srcOrd="1" destOrd="0" parTransId="{99EAB2EA-4FED-4E96-8096-6ED8D599CBB3}" sibTransId="{46769716-F03A-4D50-B402-FCF32D58CEB7}"/>
    <dgm:cxn modelId="{643238AA-711A-46AB-960F-9B9BE2D4E95A}" type="presOf" srcId="{BDEF2B55-8FC8-47D7-A92E-34590436D970}" destId="{2DA94954-BD62-4C4B-9AEE-C755D0163349}" srcOrd="0" destOrd="0" presId="urn:microsoft.com/office/officeart/2005/8/layout/hierarchy3"/>
    <dgm:cxn modelId="{0973C571-BBCF-429C-A8D2-2B7BBFAC9550}" srcId="{E904C74A-9788-4F2C-AD85-5D97766E7681}" destId="{26FE06B2-C5CE-43F1-8EFE-4CFA02B7E17B}" srcOrd="0" destOrd="0" parTransId="{B4A4B8E3-5E1F-49C7-B9B1-B0129BED5EC0}" sibTransId="{88E58612-FDFC-46A5-85B8-FC5E42B0B5D8}"/>
    <dgm:cxn modelId="{E72181CE-DAAC-4E82-B2A2-2ECB45D4315A}" type="presOf" srcId="{14E060D6-108B-48B5-A188-D4FCCCF604A0}" destId="{CDC20BC0-747C-4265-BBF2-C0F138A14DED}" srcOrd="1" destOrd="0" presId="urn:microsoft.com/office/officeart/2005/8/layout/hierarchy3"/>
    <dgm:cxn modelId="{493175C6-C871-4695-8BDD-3BB872C8B30F}" type="presOf" srcId="{0CF4907E-38EA-45A8-B568-D3766A520C90}" destId="{36894903-4779-4EED-8DB3-D7FCBADFF082}" srcOrd="0" destOrd="0" presId="urn:microsoft.com/office/officeart/2005/8/layout/hierarchy3"/>
    <dgm:cxn modelId="{DC6C7481-E516-4DD4-8E7E-DAC5210DC6A1}" type="presOf" srcId="{8DD51F80-A210-4E38-B88D-028B5B7AE9B3}" destId="{E380D719-DF09-4DF3-AA57-735A1B7D49B2}" srcOrd="0" destOrd="0" presId="urn:microsoft.com/office/officeart/2005/8/layout/hierarchy3"/>
    <dgm:cxn modelId="{BD560C4C-E7C4-40B7-B126-DE028DA74F58}" srcId="{14E060D6-108B-48B5-A188-D4FCCCF604A0}" destId="{8DD51F80-A210-4E38-B88D-028B5B7AE9B3}" srcOrd="0" destOrd="0" parTransId="{1B31979D-56BC-45B0-A2EA-BB7EDAB0C35D}" sibTransId="{3A897492-ADE5-4BC5-B8E1-B62BF94BEE7F}"/>
    <dgm:cxn modelId="{7F9D7F4C-B2FF-4578-B594-A7D5148FA898}" type="presOf" srcId="{EE929C22-7579-46B2-A7CE-A9C942A953A7}" destId="{90E9D874-C8C3-420E-B6FA-07F9F800CBA4}" srcOrd="0" destOrd="0" presId="urn:microsoft.com/office/officeart/2005/8/layout/hierarchy3"/>
    <dgm:cxn modelId="{0AE4325E-956C-4485-8CC4-F4E933DBE91A}" srcId="{E904C74A-9788-4F2C-AD85-5D97766E7681}" destId="{6BDEABF5-7DF9-4F91-AF26-0EF794E88F14}" srcOrd="2" destOrd="0" parTransId="{E2F77E48-FBD5-47CB-BD4B-BDBD2F814E82}" sibTransId="{D696B53F-A99C-49B1-A2A6-6CFF63276F30}"/>
    <dgm:cxn modelId="{84D6D18B-CC41-43C4-87D1-E6A4E6177573}" type="presOf" srcId="{72E67A82-8346-4B8C-AC7D-FE08F8EA6845}" destId="{2C92D238-5DD7-4D5F-8C1B-B7C08B439999}" srcOrd="0" destOrd="0" presId="urn:microsoft.com/office/officeart/2005/8/layout/hierarchy3"/>
    <dgm:cxn modelId="{A59EB560-3CC5-48AB-A68D-840E3E96AFA1}" type="presOf" srcId="{B4A4B8E3-5E1F-49C7-B9B1-B0129BED5EC0}" destId="{431255A2-70B7-412F-9309-51DC8757FBF2}" srcOrd="0" destOrd="0" presId="urn:microsoft.com/office/officeart/2005/8/layout/hierarchy3"/>
    <dgm:cxn modelId="{8273445B-7166-4D4B-91D9-0FB9D995993C}" srcId="{14E060D6-108B-48B5-A188-D4FCCCF604A0}" destId="{72AF7F4B-958C-446F-A01E-FBB0AE9A1084}" srcOrd="2" destOrd="0" parTransId="{43D3270E-126D-4191-845C-75913860EA3D}" sibTransId="{1F832577-1983-4012-9EE1-DE8E2D62C96A}"/>
    <dgm:cxn modelId="{8E494A73-5CBC-4916-A2AD-407468D2B2C5}" type="presOf" srcId="{14E060D6-108B-48B5-A188-D4FCCCF604A0}" destId="{F7D42698-7B38-4169-97D8-7D65DE5AD129}" srcOrd="0" destOrd="0" presId="urn:microsoft.com/office/officeart/2005/8/layout/hierarchy3"/>
    <dgm:cxn modelId="{9BF11C3A-EFEA-42F1-87DF-97DA7F89CE81}" type="presOf" srcId="{26FE06B2-C5CE-43F1-8EFE-4CFA02B7E17B}" destId="{826ACA5F-863E-4EBA-83F5-60E80F15DC82}" srcOrd="0" destOrd="0" presId="urn:microsoft.com/office/officeart/2005/8/layout/hierarchy3"/>
    <dgm:cxn modelId="{9B39E421-003E-4171-88B8-9AB6F0F052C4}" srcId="{BDEF2B55-8FC8-47D7-A92E-34590436D970}" destId="{E904C74A-9788-4F2C-AD85-5D97766E7681}" srcOrd="0" destOrd="0" parTransId="{D35E0E28-7498-4107-B184-91961B092443}" sibTransId="{01E12D71-3D0C-4EC8-8EBA-CB41871AF8F8}"/>
    <dgm:cxn modelId="{5ECC576B-5123-474B-8329-09C1FAAEF3E3}" type="presOf" srcId="{43D3270E-126D-4191-845C-75913860EA3D}" destId="{2EF94B5B-BF58-4DB7-9FA9-5E61F45878B6}" srcOrd="0" destOrd="0" presId="urn:microsoft.com/office/officeart/2005/8/layout/hierarchy3"/>
    <dgm:cxn modelId="{1830D3E9-7112-40D3-89C1-681C9D223386}" type="presOf" srcId="{EB5781A4-386C-41CF-90AB-DCAB4770C74F}" destId="{0FE4570B-E43F-4470-98CF-1861EF97309F}" srcOrd="0" destOrd="0" presId="urn:microsoft.com/office/officeart/2005/8/layout/hierarchy3"/>
    <dgm:cxn modelId="{053F0A88-1C06-4726-A3E0-39949CF70CDA}" type="presOf" srcId="{E904C74A-9788-4F2C-AD85-5D97766E7681}" destId="{E1E63469-B424-432D-9FF6-1A3BDE5D5ABB}" srcOrd="1" destOrd="0" presId="urn:microsoft.com/office/officeart/2005/8/layout/hierarchy3"/>
    <dgm:cxn modelId="{DCFBDC99-644B-44EE-91A1-F79864D9DBF3}" type="presOf" srcId="{1B31979D-56BC-45B0-A2EA-BB7EDAB0C35D}" destId="{ECB67C4E-C62A-48AB-9233-C5816B8CBEA4}" srcOrd="0" destOrd="0" presId="urn:microsoft.com/office/officeart/2005/8/layout/hierarchy3"/>
    <dgm:cxn modelId="{4F5BEFBA-2C18-4932-91CC-86813E347046}" type="presOf" srcId="{E2F77E48-FBD5-47CB-BD4B-BDBD2F814E82}" destId="{EB430B2D-C096-4D04-8708-360C59D4C399}" srcOrd="0" destOrd="0" presId="urn:microsoft.com/office/officeart/2005/8/layout/hierarchy3"/>
    <dgm:cxn modelId="{CAB31A22-636E-4F5E-9D48-7D93D548C1F6}" type="presOf" srcId="{E904C74A-9788-4F2C-AD85-5D97766E7681}" destId="{465BFF95-89A9-41A2-BBCF-1409A4258A92}" srcOrd="0" destOrd="0" presId="urn:microsoft.com/office/officeart/2005/8/layout/hierarchy3"/>
    <dgm:cxn modelId="{FFE857D6-1350-4D46-9888-486516586BE4}" srcId="{14E060D6-108B-48B5-A188-D4FCCCF604A0}" destId="{0CF4907E-38EA-45A8-B568-D3766A520C90}" srcOrd="1" destOrd="0" parTransId="{EE929C22-7579-46B2-A7CE-A9C942A953A7}" sibTransId="{DF7B68AD-1287-432B-9EAD-662AE8DD6747}"/>
    <dgm:cxn modelId="{B63816FC-2501-4E31-B7A4-DABB34A8D656}" type="presOf" srcId="{69221D01-E0D5-4E8E-91F7-59735F130217}" destId="{8BA22102-93FE-4E5B-9F4D-0CFFFC192D30}" srcOrd="0" destOrd="0" presId="urn:microsoft.com/office/officeart/2005/8/layout/hierarchy3"/>
    <dgm:cxn modelId="{80107D01-4761-488C-A216-6988D4AC4CC9}" srcId="{E904C74A-9788-4F2C-AD85-5D97766E7681}" destId="{EB5781A4-386C-41CF-90AB-DCAB4770C74F}" srcOrd="1" destOrd="0" parTransId="{FAAF4FA1-D4DF-4F82-9DE7-2362126CDBEF}" sibTransId="{E4EC1771-EBF8-4ED1-960F-BCDF719BBCAA}"/>
    <dgm:cxn modelId="{70CE7D4C-AA5C-431D-81F0-27687404653E}" srcId="{E904C74A-9788-4F2C-AD85-5D97766E7681}" destId="{69221D01-E0D5-4E8E-91F7-59735F130217}" srcOrd="3" destOrd="0" parTransId="{72E67A82-8346-4B8C-AC7D-FE08F8EA6845}" sibTransId="{8C579BBE-EB1D-45B5-BD22-177CBE2BB8CE}"/>
    <dgm:cxn modelId="{99D83CB4-EDB5-4D88-BD36-14746016C8C4}" type="presOf" srcId="{72AF7F4B-958C-446F-A01E-FBB0AE9A1084}" destId="{5B0BF81B-FA42-4A34-B8D7-DA0EAA27C2CE}" srcOrd="0" destOrd="0" presId="urn:microsoft.com/office/officeart/2005/8/layout/hierarchy3"/>
    <dgm:cxn modelId="{2904E411-6153-4575-8F15-20046B44242B}" type="presOf" srcId="{FAAF4FA1-D4DF-4F82-9DE7-2362126CDBEF}" destId="{44091FDE-4344-420B-B819-9A5ABCA778DC}" srcOrd="0" destOrd="0" presId="urn:microsoft.com/office/officeart/2005/8/layout/hierarchy3"/>
    <dgm:cxn modelId="{3502599A-1BF2-4EA2-AFCF-70B3AA2FA104}" type="presParOf" srcId="{2DA94954-BD62-4C4B-9AEE-C755D0163349}" destId="{3BF68AB3-3DDE-4719-BE9C-2D036F5BF93B}" srcOrd="0" destOrd="0" presId="urn:microsoft.com/office/officeart/2005/8/layout/hierarchy3"/>
    <dgm:cxn modelId="{59C75544-0E14-4B07-ADD0-B8F355C43F29}" type="presParOf" srcId="{3BF68AB3-3DDE-4719-BE9C-2D036F5BF93B}" destId="{A84475D2-C2F0-4C3D-A58A-F074749D9CAF}" srcOrd="0" destOrd="0" presId="urn:microsoft.com/office/officeart/2005/8/layout/hierarchy3"/>
    <dgm:cxn modelId="{DAAE59B5-54C8-4AFF-A23B-A3208C126CCE}" type="presParOf" srcId="{A84475D2-C2F0-4C3D-A58A-F074749D9CAF}" destId="{465BFF95-89A9-41A2-BBCF-1409A4258A92}" srcOrd="0" destOrd="0" presId="urn:microsoft.com/office/officeart/2005/8/layout/hierarchy3"/>
    <dgm:cxn modelId="{B1040DD0-D82F-4B1D-B5AA-2368D88F9A75}" type="presParOf" srcId="{A84475D2-C2F0-4C3D-A58A-F074749D9CAF}" destId="{E1E63469-B424-432D-9FF6-1A3BDE5D5ABB}" srcOrd="1" destOrd="0" presId="urn:microsoft.com/office/officeart/2005/8/layout/hierarchy3"/>
    <dgm:cxn modelId="{AE086715-AB7B-4B5B-8A15-75859B6998D8}" type="presParOf" srcId="{3BF68AB3-3DDE-4719-BE9C-2D036F5BF93B}" destId="{161C7578-4585-4585-86A7-E7798CF32A48}" srcOrd="1" destOrd="0" presId="urn:microsoft.com/office/officeart/2005/8/layout/hierarchy3"/>
    <dgm:cxn modelId="{57CB947B-8E41-4940-A09D-44551DB1B515}" type="presParOf" srcId="{161C7578-4585-4585-86A7-E7798CF32A48}" destId="{431255A2-70B7-412F-9309-51DC8757FBF2}" srcOrd="0" destOrd="0" presId="urn:microsoft.com/office/officeart/2005/8/layout/hierarchy3"/>
    <dgm:cxn modelId="{50A295F2-0629-4F34-A22A-AF9945355218}" type="presParOf" srcId="{161C7578-4585-4585-86A7-E7798CF32A48}" destId="{826ACA5F-863E-4EBA-83F5-60E80F15DC82}" srcOrd="1" destOrd="0" presId="urn:microsoft.com/office/officeart/2005/8/layout/hierarchy3"/>
    <dgm:cxn modelId="{1C1E6C1F-6304-4FEC-A4E6-B439099C9D6E}" type="presParOf" srcId="{161C7578-4585-4585-86A7-E7798CF32A48}" destId="{44091FDE-4344-420B-B819-9A5ABCA778DC}" srcOrd="2" destOrd="0" presId="urn:microsoft.com/office/officeart/2005/8/layout/hierarchy3"/>
    <dgm:cxn modelId="{9CF2EBA5-D88B-468D-B9E5-6448684501BE}" type="presParOf" srcId="{161C7578-4585-4585-86A7-E7798CF32A48}" destId="{0FE4570B-E43F-4470-98CF-1861EF97309F}" srcOrd="3" destOrd="0" presId="urn:microsoft.com/office/officeart/2005/8/layout/hierarchy3"/>
    <dgm:cxn modelId="{5FF60C73-9237-4FE0-AAEB-38DAA6718FCA}" type="presParOf" srcId="{161C7578-4585-4585-86A7-E7798CF32A48}" destId="{EB430B2D-C096-4D04-8708-360C59D4C399}" srcOrd="4" destOrd="0" presId="urn:microsoft.com/office/officeart/2005/8/layout/hierarchy3"/>
    <dgm:cxn modelId="{BFBB1B89-B8C0-4721-95CF-307B455B4536}" type="presParOf" srcId="{161C7578-4585-4585-86A7-E7798CF32A48}" destId="{1D86276E-218D-402E-948F-E15D7D97DB7D}" srcOrd="5" destOrd="0" presId="urn:microsoft.com/office/officeart/2005/8/layout/hierarchy3"/>
    <dgm:cxn modelId="{41C733FA-28C2-4963-8543-65ECB21D8084}" type="presParOf" srcId="{161C7578-4585-4585-86A7-E7798CF32A48}" destId="{2C92D238-5DD7-4D5F-8C1B-B7C08B439999}" srcOrd="6" destOrd="0" presId="urn:microsoft.com/office/officeart/2005/8/layout/hierarchy3"/>
    <dgm:cxn modelId="{259F78AE-F4D1-44FD-9C9F-BAB02AA405FF}" type="presParOf" srcId="{161C7578-4585-4585-86A7-E7798CF32A48}" destId="{8BA22102-93FE-4E5B-9F4D-0CFFFC192D30}" srcOrd="7" destOrd="0" presId="urn:microsoft.com/office/officeart/2005/8/layout/hierarchy3"/>
    <dgm:cxn modelId="{8ADFB37C-9B51-4686-B29B-9EA894E26E6B}" type="presParOf" srcId="{2DA94954-BD62-4C4B-9AEE-C755D0163349}" destId="{FF5E8EAE-B146-4912-B930-5FA29EC47D25}" srcOrd="1" destOrd="0" presId="urn:microsoft.com/office/officeart/2005/8/layout/hierarchy3"/>
    <dgm:cxn modelId="{1A7B20C2-13E6-4302-9EDC-59657C742C70}" type="presParOf" srcId="{FF5E8EAE-B146-4912-B930-5FA29EC47D25}" destId="{855D8931-851F-4E3D-BD25-4C3F33EB5C0D}" srcOrd="0" destOrd="0" presId="urn:microsoft.com/office/officeart/2005/8/layout/hierarchy3"/>
    <dgm:cxn modelId="{ADECDBF4-955E-4D33-9021-B487B48BE6E7}" type="presParOf" srcId="{855D8931-851F-4E3D-BD25-4C3F33EB5C0D}" destId="{F7D42698-7B38-4169-97D8-7D65DE5AD129}" srcOrd="0" destOrd="0" presId="urn:microsoft.com/office/officeart/2005/8/layout/hierarchy3"/>
    <dgm:cxn modelId="{78E74C56-09E7-4A6C-BA56-787C5FF8BB3A}" type="presParOf" srcId="{855D8931-851F-4E3D-BD25-4C3F33EB5C0D}" destId="{CDC20BC0-747C-4265-BBF2-C0F138A14DED}" srcOrd="1" destOrd="0" presId="urn:microsoft.com/office/officeart/2005/8/layout/hierarchy3"/>
    <dgm:cxn modelId="{F15099B1-923F-4BBA-AD22-51D31192D339}" type="presParOf" srcId="{FF5E8EAE-B146-4912-B930-5FA29EC47D25}" destId="{D2E0B25D-9552-4EEE-9FC5-D208DF725AD3}" srcOrd="1" destOrd="0" presId="urn:microsoft.com/office/officeart/2005/8/layout/hierarchy3"/>
    <dgm:cxn modelId="{8C94D633-F0E1-4762-A578-3D215DF4AAE9}" type="presParOf" srcId="{D2E0B25D-9552-4EEE-9FC5-D208DF725AD3}" destId="{ECB67C4E-C62A-48AB-9233-C5816B8CBEA4}" srcOrd="0" destOrd="0" presId="urn:microsoft.com/office/officeart/2005/8/layout/hierarchy3"/>
    <dgm:cxn modelId="{43C5B46D-991B-4A06-B549-5E4D8BD56AB6}" type="presParOf" srcId="{D2E0B25D-9552-4EEE-9FC5-D208DF725AD3}" destId="{E380D719-DF09-4DF3-AA57-735A1B7D49B2}" srcOrd="1" destOrd="0" presId="urn:microsoft.com/office/officeart/2005/8/layout/hierarchy3"/>
    <dgm:cxn modelId="{E263E77D-6592-4D76-A04F-3E7BA50E3ECB}" type="presParOf" srcId="{D2E0B25D-9552-4EEE-9FC5-D208DF725AD3}" destId="{90E9D874-C8C3-420E-B6FA-07F9F800CBA4}" srcOrd="2" destOrd="0" presId="urn:microsoft.com/office/officeart/2005/8/layout/hierarchy3"/>
    <dgm:cxn modelId="{3323DE56-146C-45E5-8E98-0D9345B2FF25}" type="presParOf" srcId="{D2E0B25D-9552-4EEE-9FC5-D208DF725AD3}" destId="{36894903-4779-4EED-8DB3-D7FCBADFF082}" srcOrd="3" destOrd="0" presId="urn:microsoft.com/office/officeart/2005/8/layout/hierarchy3"/>
    <dgm:cxn modelId="{D446F877-6959-445E-8B41-8D588981A32E}" type="presParOf" srcId="{D2E0B25D-9552-4EEE-9FC5-D208DF725AD3}" destId="{2EF94B5B-BF58-4DB7-9FA9-5E61F45878B6}" srcOrd="4" destOrd="0" presId="urn:microsoft.com/office/officeart/2005/8/layout/hierarchy3"/>
    <dgm:cxn modelId="{DE43CE46-646F-44C5-8FE1-D0B95C7B02CE}" type="presParOf" srcId="{D2E0B25D-9552-4EEE-9FC5-D208DF725AD3}" destId="{5B0BF81B-FA42-4A34-B8D7-DA0EAA27C2CE}" srcOrd="5" destOrd="0" presId="urn:microsoft.com/office/officeart/2005/8/layout/hierarchy3"/>
  </dgm:cxnLst>
  <dgm:bg>
    <a:solidFill>
      <a:schemeClr val="accent4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FC8E93A-B501-4911-B3D4-4AD189F5B348}" type="doc">
      <dgm:prSet loTypeId="urn:microsoft.com/office/officeart/2005/8/layout/hierarchy3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fr-FR"/>
        </a:p>
      </dgm:t>
    </dgm:pt>
    <dgm:pt modelId="{A3C0BA60-FD3B-4356-A0A4-7AEF2709F962}">
      <dgm:prSet phldrT="[Texte]"/>
      <dgm:spPr/>
      <dgm:t>
        <a:bodyPr/>
        <a:lstStyle/>
        <a:p>
          <a:r>
            <a:rPr lang="fr-FR" dirty="0" smtClean="0"/>
            <a:t>FAIBLESSES</a:t>
          </a:r>
          <a:endParaRPr lang="fr-FR" dirty="0"/>
        </a:p>
      </dgm:t>
    </dgm:pt>
    <dgm:pt modelId="{585D6897-6A1D-4111-A2E8-97B39A89D0F1}" type="parTrans" cxnId="{0EECB4B8-0F4E-4390-9DCF-EA1A79E8B371}">
      <dgm:prSet/>
      <dgm:spPr/>
      <dgm:t>
        <a:bodyPr/>
        <a:lstStyle/>
        <a:p>
          <a:endParaRPr lang="fr-FR"/>
        </a:p>
      </dgm:t>
    </dgm:pt>
    <dgm:pt modelId="{F9EFC6F4-9FD1-4D35-9404-B99F34AF8431}" type="sibTrans" cxnId="{0EECB4B8-0F4E-4390-9DCF-EA1A79E8B371}">
      <dgm:prSet/>
      <dgm:spPr/>
      <dgm:t>
        <a:bodyPr/>
        <a:lstStyle/>
        <a:p>
          <a:endParaRPr lang="fr-FR"/>
        </a:p>
      </dgm:t>
    </dgm:pt>
    <dgm:pt modelId="{1AD276F9-3604-4C34-946A-ACF2C788EACB}">
      <dgm:prSet phldrT="[Texte]"/>
      <dgm:spPr/>
      <dgm:t>
        <a:bodyPr/>
        <a:lstStyle/>
        <a:p>
          <a:r>
            <a:rPr lang="fr-FR" dirty="0" smtClean="0"/>
            <a:t>Eloignement</a:t>
          </a:r>
          <a:endParaRPr lang="fr-FR" dirty="0"/>
        </a:p>
      </dgm:t>
    </dgm:pt>
    <dgm:pt modelId="{BF9B1C34-7E0B-45DC-9525-402795E05540}" type="parTrans" cxnId="{B9FAAA28-35B0-42EA-A771-0A77D1C1C6B4}">
      <dgm:prSet/>
      <dgm:spPr/>
      <dgm:t>
        <a:bodyPr/>
        <a:lstStyle/>
        <a:p>
          <a:endParaRPr lang="fr-FR"/>
        </a:p>
      </dgm:t>
    </dgm:pt>
    <dgm:pt modelId="{68C2F55F-A966-457D-AB86-8AEAE5EFD3D1}" type="sibTrans" cxnId="{B9FAAA28-35B0-42EA-A771-0A77D1C1C6B4}">
      <dgm:prSet/>
      <dgm:spPr/>
      <dgm:t>
        <a:bodyPr/>
        <a:lstStyle/>
        <a:p>
          <a:endParaRPr lang="fr-FR"/>
        </a:p>
      </dgm:t>
    </dgm:pt>
    <dgm:pt modelId="{54D2C86F-299B-45DF-95BC-CCE3425A88B4}">
      <dgm:prSet phldrT="[Texte]"/>
      <dgm:spPr/>
      <dgm:t>
        <a:bodyPr/>
        <a:lstStyle/>
        <a:p>
          <a:r>
            <a:rPr lang="fr-FR" dirty="0" smtClean="0"/>
            <a:t>Compagnie aérienne en gestation</a:t>
          </a:r>
          <a:endParaRPr lang="fr-FR" dirty="0"/>
        </a:p>
      </dgm:t>
    </dgm:pt>
    <dgm:pt modelId="{D5E7B8ED-A607-4DAD-90E1-9D327B009AFA}" type="parTrans" cxnId="{CACD4B2D-C3EC-41A0-A11C-A606D2EC3EC0}">
      <dgm:prSet/>
      <dgm:spPr/>
      <dgm:t>
        <a:bodyPr/>
        <a:lstStyle/>
        <a:p>
          <a:endParaRPr lang="fr-FR"/>
        </a:p>
      </dgm:t>
    </dgm:pt>
    <dgm:pt modelId="{E69D9E74-9C1B-4C72-B5CA-74977936F805}" type="sibTrans" cxnId="{CACD4B2D-C3EC-41A0-A11C-A606D2EC3EC0}">
      <dgm:prSet/>
      <dgm:spPr/>
      <dgm:t>
        <a:bodyPr/>
        <a:lstStyle/>
        <a:p>
          <a:endParaRPr lang="fr-FR"/>
        </a:p>
      </dgm:t>
    </dgm:pt>
    <dgm:pt modelId="{105464F9-AA7B-46FA-BD94-B7B4D7BCB3AA}">
      <dgm:prSet phldrT="[Texte]"/>
      <dgm:spPr/>
      <dgm:t>
        <a:bodyPr/>
        <a:lstStyle/>
        <a:p>
          <a:r>
            <a:rPr lang="fr-FR" dirty="0" smtClean="0"/>
            <a:t>MENACES</a:t>
          </a:r>
          <a:endParaRPr lang="fr-FR" dirty="0"/>
        </a:p>
      </dgm:t>
    </dgm:pt>
    <dgm:pt modelId="{6760D21A-1D9E-4505-A107-22D0B78AEE16}" type="parTrans" cxnId="{4492052D-A5C7-4C1E-99AF-130F36600ABE}">
      <dgm:prSet/>
      <dgm:spPr/>
      <dgm:t>
        <a:bodyPr/>
        <a:lstStyle/>
        <a:p>
          <a:endParaRPr lang="fr-FR"/>
        </a:p>
      </dgm:t>
    </dgm:pt>
    <dgm:pt modelId="{85BACF55-A8CF-4E9D-9D20-6D68BF849023}" type="sibTrans" cxnId="{4492052D-A5C7-4C1E-99AF-130F36600ABE}">
      <dgm:prSet/>
      <dgm:spPr/>
      <dgm:t>
        <a:bodyPr/>
        <a:lstStyle/>
        <a:p>
          <a:endParaRPr lang="fr-FR"/>
        </a:p>
      </dgm:t>
    </dgm:pt>
    <dgm:pt modelId="{12F5CABC-F807-4DBD-9DDD-83FDF1CFE56F}">
      <dgm:prSet phldrT="[Texte]"/>
      <dgm:spPr/>
      <dgm:t>
        <a:bodyPr/>
        <a:lstStyle/>
        <a:p>
          <a:r>
            <a:rPr lang="fr-FR" dirty="0" smtClean="0"/>
            <a:t>Décision politique inappropriée</a:t>
          </a:r>
          <a:endParaRPr lang="fr-FR" dirty="0"/>
        </a:p>
      </dgm:t>
    </dgm:pt>
    <dgm:pt modelId="{0C6FA5FE-B5AB-48D5-AC8A-8EB38185A937}" type="parTrans" cxnId="{700A49FA-6854-4F0C-A8CF-676DA30DFC6D}">
      <dgm:prSet/>
      <dgm:spPr/>
      <dgm:t>
        <a:bodyPr/>
        <a:lstStyle/>
        <a:p>
          <a:endParaRPr lang="fr-FR"/>
        </a:p>
      </dgm:t>
    </dgm:pt>
    <dgm:pt modelId="{9FDED86A-789C-4E32-A80C-4533966C40E8}" type="sibTrans" cxnId="{700A49FA-6854-4F0C-A8CF-676DA30DFC6D}">
      <dgm:prSet/>
      <dgm:spPr/>
      <dgm:t>
        <a:bodyPr/>
        <a:lstStyle/>
        <a:p>
          <a:endParaRPr lang="fr-FR"/>
        </a:p>
      </dgm:t>
    </dgm:pt>
    <dgm:pt modelId="{AE3C0F80-56C3-4DD4-B7FB-1B40A74164DA}">
      <dgm:prSet phldrT="[Texte]"/>
      <dgm:spPr/>
      <dgm:t>
        <a:bodyPr/>
        <a:lstStyle/>
        <a:p>
          <a:r>
            <a:rPr lang="fr-FR" dirty="0" smtClean="0"/>
            <a:t>Désaccord entre le partenaire et l’Etat</a:t>
          </a:r>
          <a:endParaRPr lang="fr-FR" dirty="0"/>
        </a:p>
      </dgm:t>
    </dgm:pt>
    <dgm:pt modelId="{B2273C5D-83FD-46DB-B485-B253EA41D416}" type="parTrans" cxnId="{E1577545-B318-4383-9769-10B5239C82C8}">
      <dgm:prSet/>
      <dgm:spPr/>
      <dgm:t>
        <a:bodyPr/>
        <a:lstStyle/>
        <a:p>
          <a:endParaRPr lang="fr-FR"/>
        </a:p>
      </dgm:t>
    </dgm:pt>
    <dgm:pt modelId="{2304C4B2-ECC4-4675-9BA9-937D67A48A96}" type="sibTrans" cxnId="{E1577545-B318-4383-9769-10B5239C82C8}">
      <dgm:prSet/>
      <dgm:spPr/>
      <dgm:t>
        <a:bodyPr/>
        <a:lstStyle/>
        <a:p>
          <a:endParaRPr lang="fr-FR"/>
        </a:p>
      </dgm:t>
    </dgm:pt>
    <dgm:pt modelId="{9778578D-2780-4555-AA6D-B816A87AE687}">
      <dgm:prSet/>
      <dgm:spPr/>
      <dgm:t>
        <a:bodyPr/>
        <a:lstStyle/>
        <a:p>
          <a:r>
            <a:rPr lang="fr-FR" dirty="0" smtClean="0"/>
            <a:t>Phasage du projet</a:t>
          </a:r>
          <a:endParaRPr lang="fr-FR" dirty="0"/>
        </a:p>
      </dgm:t>
    </dgm:pt>
    <dgm:pt modelId="{5054833D-FCF4-4958-B73A-7042CCA10628}" type="parTrans" cxnId="{A45E22C7-C925-43C3-9D95-8E8C8EA51667}">
      <dgm:prSet/>
      <dgm:spPr/>
      <dgm:t>
        <a:bodyPr/>
        <a:lstStyle/>
        <a:p>
          <a:endParaRPr lang="fr-FR"/>
        </a:p>
      </dgm:t>
    </dgm:pt>
    <dgm:pt modelId="{41672A88-1030-483F-B69B-89E0998910FE}" type="sibTrans" cxnId="{A45E22C7-C925-43C3-9D95-8E8C8EA51667}">
      <dgm:prSet/>
      <dgm:spPr/>
      <dgm:t>
        <a:bodyPr/>
        <a:lstStyle/>
        <a:p>
          <a:endParaRPr lang="fr-FR"/>
        </a:p>
      </dgm:t>
    </dgm:pt>
    <dgm:pt modelId="{A4DD546E-16B6-4260-A7DD-E9E3B725CACF}">
      <dgm:prSet/>
      <dgm:spPr/>
      <dgm:t>
        <a:bodyPr/>
        <a:lstStyle/>
        <a:p>
          <a:r>
            <a:rPr lang="fr-FR" dirty="0" smtClean="0"/>
            <a:t>Baisse du niveau de service</a:t>
          </a:r>
          <a:endParaRPr lang="fr-FR" dirty="0"/>
        </a:p>
      </dgm:t>
    </dgm:pt>
    <dgm:pt modelId="{8F330232-D88E-4329-AED3-BEDF393A8705}" type="parTrans" cxnId="{4402A401-02EA-498E-820B-7D06ECCEABC2}">
      <dgm:prSet/>
      <dgm:spPr/>
      <dgm:t>
        <a:bodyPr/>
        <a:lstStyle/>
        <a:p>
          <a:endParaRPr lang="fr-FR"/>
        </a:p>
      </dgm:t>
    </dgm:pt>
    <dgm:pt modelId="{817AF6A1-FEA6-475E-B498-1A8A98A795D2}" type="sibTrans" cxnId="{4402A401-02EA-498E-820B-7D06ECCEABC2}">
      <dgm:prSet/>
      <dgm:spPr/>
      <dgm:t>
        <a:bodyPr/>
        <a:lstStyle/>
        <a:p>
          <a:endParaRPr lang="fr-FR"/>
        </a:p>
      </dgm:t>
    </dgm:pt>
    <dgm:pt modelId="{41405C70-B654-4DDC-A5C3-3B331685FB66}">
      <dgm:prSet/>
      <dgm:spPr/>
      <dgm:t>
        <a:bodyPr/>
        <a:lstStyle/>
        <a:p>
          <a:r>
            <a:rPr lang="fr-FR" dirty="0" smtClean="0"/>
            <a:t>Non respect de l’entretien lourd</a:t>
          </a:r>
          <a:endParaRPr lang="fr-FR" dirty="0"/>
        </a:p>
      </dgm:t>
    </dgm:pt>
    <dgm:pt modelId="{DFC091EE-1F4B-4708-91DE-0A16404CD7D0}" type="parTrans" cxnId="{AD717F0A-9B3E-4CAC-8BCD-20304987D601}">
      <dgm:prSet/>
      <dgm:spPr/>
      <dgm:t>
        <a:bodyPr/>
        <a:lstStyle/>
        <a:p>
          <a:endParaRPr lang="fr-FR"/>
        </a:p>
      </dgm:t>
    </dgm:pt>
    <dgm:pt modelId="{9971AA05-87D6-47D5-960F-D5C3F377ABD3}" type="sibTrans" cxnId="{AD717F0A-9B3E-4CAC-8BCD-20304987D601}">
      <dgm:prSet/>
      <dgm:spPr/>
      <dgm:t>
        <a:bodyPr/>
        <a:lstStyle/>
        <a:p>
          <a:endParaRPr lang="fr-FR"/>
        </a:p>
      </dgm:t>
    </dgm:pt>
    <dgm:pt modelId="{5952F7FE-1612-43BB-AAF1-FBE5A7C81CDA}" type="pres">
      <dgm:prSet presAssocID="{AFC8E93A-B501-4911-B3D4-4AD189F5B34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2FDA6064-EB2E-4CB4-92DE-D2F44B83B649}" type="pres">
      <dgm:prSet presAssocID="{A3C0BA60-FD3B-4356-A0A4-7AEF2709F962}" presName="root" presStyleCnt="0"/>
      <dgm:spPr/>
    </dgm:pt>
    <dgm:pt modelId="{1F65B8CA-56D0-476A-BE62-BEFCCFA66024}" type="pres">
      <dgm:prSet presAssocID="{A3C0BA60-FD3B-4356-A0A4-7AEF2709F962}" presName="rootComposite" presStyleCnt="0"/>
      <dgm:spPr/>
    </dgm:pt>
    <dgm:pt modelId="{FA49475B-60C9-40FB-A71F-EADE6A9362D0}" type="pres">
      <dgm:prSet presAssocID="{A3C0BA60-FD3B-4356-A0A4-7AEF2709F962}" presName="rootText" presStyleLbl="node1" presStyleIdx="0" presStyleCnt="2" custLinFactNeighborX="4403" custLinFactNeighborY="-99087"/>
      <dgm:spPr/>
      <dgm:t>
        <a:bodyPr/>
        <a:lstStyle/>
        <a:p>
          <a:endParaRPr lang="fr-FR"/>
        </a:p>
      </dgm:t>
    </dgm:pt>
    <dgm:pt modelId="{2EC82A31-8F55-4C38-AC6B-E0F294D4B790}" type="pres">
      <dgm:prSet presAssocID="{A3C0BA60-FD3B-4356-A0A4-7AEF2709F962}" presName="rootConnector" presStyleLbl="node1" presStyleIdx="0" presStyleCnt="2"/>
      <dgm:spPr/>
      <dgm:t>
        <a:bodyPr/>
        <a:lstStyle/>
        <a:p>
          <a:endParaRPr lang="fr-FR"/>
        </a:p>
      </dgm:t>
    </dgm:pt>
    <dgm:pt modelId="{CB0D37EC-EC66-4921-A893-948724EC1F34}" type="pres">
      <dgm:prSet presAssocID="{A3C0BA60-FD3B-4356-A0A4-7AEF2709F962}" presName="childShape" presStyleCnt="0"/>
      <dgm:spPr/>
    </dgm:pt>
    <dgm:pt modelId="{15720396-0C31-4BB5-BB13-FCF99A511083}" type="pres">
      <dgm:prSet presAssocID="{BF9B1C34-7E0B-45DC-9525-402795E05540}" presName="Name13" presStyleLbl="parChTrans1D2" presStyleIdx="0" presStyleCnt="7"/>
      <dgm:spPr/>
      <dgm:t>
        <a:bodyPr/>
        <a:lstStyle/>
        <a:p>
          <a:endParaRPr lang="fr-FR"/>
        </a:p>
      </dgm:t>
    </dgm:pt>
    <dgm:pt modelId="{16981D97-F2D7-4A0A-8758-C7E683B57853}" type="pres">
      <dgm:prSet presAssocID="{1AD276F9-3604-4C34-946A-ACF2C788EACB}" presName="childText" presStyleLbl="bgAcc1" presStyleIdx="0" presStyleCnt="7" custLinFactNeighborX="-1311" custLinFactNeighborY="-1900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A8D3DE1-9470-402E-B1CE-8CA558C365FC}" type="pres">
      <dgm:prSet presAssocID="{D5E7B8ED-A607-4DAD-90E1-9D327B009AFA}" presName="Name13" presStyleLbl="parChTrans1D2" presStyleIdx="1" presStyleCnt="7"/>
      <dgm:spPr/>
      <dgm:t>
        <a:bodyPr/>
        <a:lstStyle/>
        <a:p>
          <a:endParaRPr lang="fr-FR"/>
        </a:p>
      </dgm:t>
    </dgm:pt>
    <dgm:pt modelId="{0FFB1287-BB2C-4960-BBF4-435F74D96CF3}" type="pres">
      <dgm:prSet presAssocID="{54D2C86F-299B-45DF-95BC-CCE3425A88B4}" presName="childText" presStyleLbl="bgAcc1" presStyleIdx="1" presStyleCnt="7" custLinFactNeighborX="-1709" custLinFactNeighborY="-2074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5BD03FA-3328-4227-8557-D1859BFC1021}" type="pres">
      <dgm:prSet presAssocID="{5054833D-FCF4-4958-B73A-7042CCA10628}" presName="Name13" presStyleLbl="parChTrans1D2" presStyleIdx="2" presStyleCnt="7"/>
      <dgm:spPr/>
      <dgm:t>
        <a:bodyPr/>
        <a:lstStyle/>
        <a:p>
          <a:endParaRPr lang="fr-FR"/>
        </a:p>
      </dgm:t>
    </dgm:pt>
    <dgm:pt modelId="{5354A73A-82BA-44C1-9BB0-C0FC83F9D1FC}" type="pres">
      <dgm:prSet presAssocID="{9778578D-2780-4555-AA6D-B816A87AE687}" presName="childText" presStyleLbl="bgAcc1" presStyleIdx="2" presStyleCnt="7" custLinFactNeighborX="-1311" custLinFactNeighborY="-1874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59EAB3B-CE16-432F-856F-7FFB5F989E59}" type="pres">
      <dgm:prSet presAssocID="{105464F9-AA7B-46FA-BD94-B7B4D7BCB3AA}" presName="root" presStyleCnt="0"/>
      <dgm:spPr/>
    </dgm:pt>
    <dgm:pt modelId="{B06AD80F-4590-4801-9A73-52A86BEADF95}" type="pres">
      <dgm:prSet presAssocID="{105464F9-AA7B-46FA-BD94-B7B4D7BCB3AA}" presName="rootComposite" presStyleCnt="0"/>
      <dgm:spPr/>
    </dgm:pt>
    <dgm:pt modelId="{BB04E664-0013-4E80-92DE-841A5EA8103D}" type="pres">
      <dgm:prSet presAssocID="{105464F9-AA7B-46FA-BD94-B7B4D7BCB3AA}" presName="rootText" presStyleLbl="node1" presStyleIdx="1" presStyleCnt="2" custScaleX="101816" custLinFactNeighborX="-8892" custLinFactNeighborY="-99087"/>
      <dgm:spPr/>
      <dgm:t>
        <a:bodyPr/>
        <a:lstStyle/>
        <a:p>
          <a:endParaRPr lang="fr-FR"/>
        </a:p>
      </dgm:t>
    </dgm:pt>
    <dgm:pt modelId="{2C80D01B-A04D-423D-943A-9D9AEB22C9D8}" type="pres">
      <dgm:prSet presAssocID="{105464F9-AA7B-46FA-BD94-B7B4D7BCB3AA}" presName="rootConnector" presStyleLbl="node1" presStyleIdx="1" presStyleCnt="2"/>
      <dgm:spPr/>
      <dgm:t>
        <a:bodyPr/>
        <a:lstStyle/>
        <a:p>
          <a:endParaRPr lang="fr-FR"/>
        </a:p>
      </dgm:t>
    </dgm:pt>
    <dgm:pt modelId="{2D1FE678-5D45-4419-94AF-56F2C0663FB7}" type="pres">
      <dgm:prSet presAssocID="{105464F9-AA7B-46FA-BD94-B7B4D7BCB3AA}" presName="childShape" presStyleCnt="0"/>
      <dgm:spPr/>
    </dgm:pt>
    <dgm:pt modelId="{5D4143B6-D761-40CE-B9D4-C4A64946CF16}" type="pres">
      <dgm:prSet presAssocID="{0C6FA5FE-B5AB-48D5-AC8A-8EB38185A937}" presName="Name13" presStyleLbl="parChTrans1D2" presStyleIdx="3" presStyleCnt="7"/>
      <dgm:spPr/>
      <dgm:t>
        <a:bodyPr/>
        <a:lstStyle/>
        <a:p>
          <a:endParaRPr lang="fr-FR"/>
        </a:p>
      </dgm:t>
    </dgm:pt>
    <dgm:pt modelId="{6AD1DCE5-82B5-44C3-B01A-DE5A204DF392}" type="pres">
      <dgm:prSet presAssocID="{12F5CABC-F807-4DBD-9DDD-83FDF1CFE56F}" presName="childText" presStyleLbl="bgAcc1" presStyleIdx="3" presStyleCnt="7" custScaleX="107612" custLinFactNeighborX="-12735" custLinFactNeighborY="-1900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60A617C-BF20-472B-8E26-8EF1F04CB496}" type="pres">
      <dgm:prSet presAssocID="{B2273C5D-83FD-46DB-B485-B253EA41D416}" presName="Name13" presStyleLbl="parChTrans1D2" presStyleIdx="4" presStyleCnt="7"/>
      <dgm:spPr/>
      <dgm:t>
        <a:bodyPr/>
        <a:lstStyle/>
        <a:p>
          <a:endParaRPr lang="fr-FR"/>
        </a:p>
      </dgm:t>
    </dgm:pt>
    <dgm:pt modelId="{988CAF1D-11FE-40B1-B810-7748876A841B}" type="pres">
      <dgm:prSet presAssocID="{AE3C0F80-56C3-4DD4-B7FB-1B40A74164DA}" presName="childText" presStyleLbl="bgAcc1" presStyleIdx="4" presStyleCnt="7" custScaleX="108548" custLinFactNeighborX="-12735" custLinFactNeighborY="-2350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970030-166C-4A78-91B1-FA82F12A946A}" type="pres">
      <dgm:prSet presAssocID="{8F330232-D88E-4329-AED3-BEDF393A8705}" presName="Name13" presStyleLbl="parChTrans1D2" presStyleIdx="5" presStyleCnt="7"/>
      <dgm:spPr/>
      <dgm:t>
        <a:bodyPr/>
        <a:lstStyle/>
        <a:p>
          <a:endParaRPr lang="fr-FR"/>
        </a:p>
      </dgm:t>
    </dgm:pt>
    <dgm:pt modelId="{62930F84-9C04-4327-92D9-CD461BCFA569}" type="pres">
      <dgm:prSet presAssocID="{A4DD546E-16B6-4260-A7DD-E9E3B725CACF}" presName="childText" presStyleLbl="bgAcc1" presStyleIdx="5" presStyleCnt="7" custScaleX="105056" custLinFactNeighborX="-6942" custLinFactNeighborY="-1874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C557CDE-5A02-4B3C-AAF0-2B28E8A68615}" type="pres">
      <dgm:prSet presAssocID="{DFC091EE-1F4B-4708-91DE-0A16404CD7D0}" presName="Name13" presStyleLbl="parChTrans1D2" presStyleIdx="6" presStyleCnt="7"/>
      <dgm:spPr/>
      <dgm:t>
        <a:bodyPr/>
        <a:lstStyle/>
        <a:p>
          <a:endParaRPr lang="fr-FR"/>
        </a:p>
      </dgm:t>
    </dgm:pt>
    <dgm:pt modelId="{57963C1D-E97F-4381-B5AF-5F70506646FA}" type="pres">
      <dgm:prSet presAssocID="{41405C70-B654-4DDC-A5C3-3B331685FB66}" presName="childText" presStyleLbl="bgAcc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EECB4B8-0F4E-4390-9DCF-EA1A79E8B371}" srcId="{AFC8E93A-B501-4911-B3D4-4AD189F5B348}" destId="{A3C0BA60-FD3B-4356-A0A4-7AEF2709F962}" srcOrd="0" destOrd="0" parTransId="{585D6897-6A1D-4111-A2E8-97B39A89D0F1}" sibTransId="{F9EFC6F4-9FD1-4D35-9404-B99F34AF8431}"/>
    <dgm:cxn modelId="{3057E4DB-1150-4F0E-AF9B-F3F3ED1CA588}" type="presOf" srcId="{5054833D-FCF4-4958-B73A-7042CCA10628}" destId="{95BD03FA-3328-4227-8557-D1859BFC1021}" srcOrd="0" destOrd="0" presId="urn:microsoft.com/office/officeart/2005/8/layout/hierarchy3"/>
    <dgm:cxn modelId="{33F0E762-43EE-4A87-8EFD-FEB4A8F10146}" type="presOf" srcId="{54D2C86F-299B-45DF-95BC-CCE3425A88B4}" destId="{0FFB1287-BB2C-4960-BBF4-435F74D96CF3}" srcOrd="0" destOrd="0" presId="urn:microsoft.com/office/officeart/2005/8/layout/hierarchy3"/>
    <dgm:cxn modelId="{AD717F0A-9B3E-4CAC-8BCD-20304987D601}" srcId="{105464F9-AA7B-46FA-BD94-B7B4D7BCB3AA}" destId="{41405C70-B654-4DDC-A5C3-3B331685FB66}" srcOrd="3" destOrd="0" parTransId="{DFC091EE-1F4B-4708-91DE-0A16404CD7D0}" sibTransId="{9971AA05-87D6-47D5-960F-D5C3F377ABD3}"/>
    <dgm:cxn modelId="{66641C75-EBB0-4CD6-94CD-0E16F3A9CCC0}" type="presOf" srcId="{A3C0BA60-FD3B-4356-A0A4-7AEF2709F962}" destId="{FA49475B-60C9-40FB-A71F-EADE6A9362D0}" srcOrd="0" destOrd="0" presId="urn:microsoft.com/office/officeart/2005/8/layout/hierarchy3"/>
    <dgm:cxn modelId="{B9FAAA28-35B0-42EA-A771-0A77D1C1C6B4}" srcId="{A3C0BA60-FD3B-4356-A0A4-7AEF2709F962}" destId="{1AD276F9-3604-4C34-946A-ACF2C788EACB}" srcOrd="0" destOrd="0" parTransId="{BF9B1C34-7E0B-45DC-9525-402795E05540}" sibTransId="{68C2F55F-A966-457D-AB86-8AEAE5EFD3D1}"/>
    <dgm:cxn modelId="{CD1C892E-C007-4F1C-9F57-56B1F94E375D}" type="presOf" srcId="{12F5CABC-F807-4DBD-9DDD-83FDF1CFE56F}" destId="{6AD1DCE5-82B5-44C3-B01A-DE5A204DF392}" srcOrd="0" destOrd="0" presId="urn:microsoft.com/office/officeart/2005/8/layout/hierarchy3"/>
    <dgm:cxn modelId="{C0A30CA2-142D-479A-8C8D-E048F03261F8}" type="presOf" srcId="{9778578D-2780-4555-AA6D-B816A87AE687}" destId="{5354A73A-82BA-44C1-9BB0-C0FC83F9D1FC}" srcOrd="0" destOrd="0" presId="urn:microsoft.com/office/officeart/2005/8/layout/hierarchy3"/>
    <dgm:cxn modelId="{E1577545-B318-4383-9769-10B5239C82C8}" srcId="{105464F9-AA7B-46FA-BD94-B7B4D7BCB3AA}" destId="{AE3C0F80-56C3-4DD4-B7FB-1B40A74164DA}" srcOrd="1" destOrd="0" parTransId="{B2273C5D-83FD-46DB-B485-B253EA41D416}" sibTransId="{2304C4B2-ECC4-4675-9BA9-937D67A48A96}"/>
    <dgm:cxn modelId="{8A417B5F-83E9-4E8C-B661-BFF38F0CAF17}" type="presOf" srcId="{8F330232-D88E-4329-AED3-BEDF393A8705}" destId="{C7970030-166C-4A78-91B1-FA82F12A946A}" srcOrd="0" destOrd="0" presId="urn:microsoft.com/office/officeart/2005/8/layout/hierarchy3"/>
    <dgm:cxn modelId="{A45E22C7-C925-43C3-9D95-8E8C8EA51667}" srcId="{A3C0BA60-FD3B-4356-A0A4-7AEF2709F962}" destId="{9778578D-2780-4555-AA6D-B816A87AE687}" srcOrd="2" destOrd="0" parTransId="{5054833D-FCF4-4958-B73A-7042CCA10628}" sibTransId="{41672A88-1030-483F-B69B-89E0998910FE}"/>
    <dgm:cxn modelId="{12A23F74-0CEF-4203-8572-FD200FF86B40}" type="presOf" srcId="{0C6FA5FE-B5AB-48D5-AC8A-8EB38185A937}" destId="{5D4143B6-D761-40CE-B9D4-C4A64946CF16}" srcOrd="0" destOrd="0" presId="urn:microsoft.com/office/officeart/2005/8/layout/hierarchy3"/>
    <dgm:cxn modelId="{4492052D-A5C7-4C1E-99AF-130F36600ABE}" srcId="{AFC8E93A-B501-4911-B3D4-4AD189F5B348}" destId="{105464F9-AA7B-46FA-BD94-B7B4D7BCB3AA}" srcOrd="1" destOrd="0" parTransId="{6760D21A-1D9E-4505-A107-22D0B78AEE16}" sibTransId="{85BACF55-A8CF-4E9D-9D20-6D68BF849023}"/>
    <dgm:cxn modelId="{1A4BAFD7-701F-41E3-B757-8CE2734CB1A6}" type="presOf" srcId="{AFC8E93A-B501-4911-B3D4-4AD189F5B348}" destId="{5952F7FE-1612-43BB-AAF1-FBE5A7C81CDA}" srcOrd="0" destOrd="0" presId="urn:microsoft.com/office/officeart/2005/8/layout/hierarchy3"/>
    <dgm:cxn modelId="{B142AC85-6FE9-4B94-AE99-EC9D1B0C32EF}" type="presOf" srcId="{105464F9-AA7B-46FA-BD94-B7B4D7BCB3AA}" destId="{2C80D01B-A04D-423D-943A-9D9AEB22C9D8}" srcOrd="1" destOrd="0" presId="urn:microsoft.com/office/officeart/2005/8/layout/hierarchy3"/>
    <dgm:cxn modelId="{981F4EC3-B15F-465C-B1FA-968FC098D9DC}" type="presOf" srcId="{41405C70-B654-4DDC-A5C3-3B331685FB66}" destId="{57963C1D-E97F-4381-B5AF-5F70506646FA}" srcOrd="0" destOrd="0" presId="urn:microsoft.com/office/officeart/2005/8/layout/hierarchy3"/>
    <dgm:cxn modelId="{4A6B7579-9866-4FBE-9FE5-36E1920641BF}" type="presOf" srcId="{A3C0BA60-FD3B-4356-A0A4-7AEF2709F962}" destId="{2EC82A31-8F55-4C38-AC6B-E0F294D4B790}" srcOrd="1" destOrd="0" presId="urn:microsoft.com/office/officeart/2005/8/layout/hierarchy3"/>
    <dgm:cxn modelId="{DCE0B111-CF8D-4273-B7C8-68EE61AE47B3}" type="presOf" srcId="{DFC091EE-1F4B-4708-91DE-0A16404CD7D0}" destId="{EC557CDE-5A02-4B3C-AAF0-2B28E8A68615}" srcOrd="0" destOrd="0" presId="urn:microsoft.com/office/officeart/2005/8/layout/hierarchy3"/>
    <dgm:cxn modelId="{B8205A69-5CCA-4FDD-A967-D27E92568054}" type="presOf" srcId="{1AD276F9-3604-4C34-946A-ACF2C788EACB}" destId="{16981D97-F2D7-4A0A-8758-C7E683B57853}" srcOrd="0" destOrd="0" presId="urn:microsoft.com/office/officeart/2005/8/layout/hierarchy3"/>
    <dgm:cxn modelId="{700A49FA-6854-4F0C-A8CF-676DA30DFC6D}" srcId="{105464F9-AA7B-46FA-BD94-B7B4D7BCB3AA}" destId="{12F5CABC-F807-4DBD-9DDD-83FDF1CFE56F}" srcOrd="0" destOrd="0" parTransId="{0C6FA5FE-B5AB-48D5-AC8A-8EB38185A937}" sibTransId="{9FDED86A-789C-4E32-A80C-4533966C40E8}"/>
    <dgm:cxn modelId="{CACD4B2D-C3EC-41A0-A11C-A606D2EC3EC0}" srcId="{A3C0BA60-FD3B-4356-A0A4-7AEF2709F962}" destId="{54D2C86F-299B-45DF-95BC-CCE3425A88B4}" srcOrd="1" destOrd="0" parTransId="{D5E7B8ED-A607-4DAD-90E1-9D327B009AFA}" sibTransId="{E69D9E74-9C1B-4C72-B5CA-74977936F805}"/>
    <dgm:cxn modelId="{0B6E1DFC-5818-440D-87A3-0DD7FD0FE7FB}" type="presOf" srcId="{105464F9-AA7B-46FA-BD94-B7B4D7BCB3AA}" destId="{BB04E664-0013-4E80-92DE-841A5EA8103D}" srcOrd="0" destOrd="0" presId="urn:microsoft.com/office/officeart/2005/8/layout/hierarchy3"/>
    <dgm:cxn modelId="{83A92556-56DB-497F-BBB2-46359C920CBB}" type="presOf" srcId="{BF9B1C34-7E0B-45DC-9525-402795E05540}" destId="{15720396-0C31-4BB5-BB13-FCF99A511083}" srcOrd="0" destOrd="0" presId="urn:microsoft.com/office/officeart/2005/8/layout/hierarchy3"/>
    <dgm:cxn modelId="{D63FBC20-EA9E-41F2-B133-98971461BFD8}" type="presOf" srcId="{D5E7B8ED-A607-4DAD-90E1-9D327B009AFA}" destId="{2A8D3DE1-9470-402E-B1CE-8CA558C365FC}" srcOrd="0" destOrd="0" presId="urn:microsoft.com/office/officeart/2005/8/layout/hierarchy3"/>
    <dgm:cxn modelId="{D9267F47-AFB8-49B6-ACD4-C02C95D1E56E}" type="presOf" srcId="{A4DD546E-16B6-4260-A7DD-E9E3B725CACF}" destId="{62930F84-9C04-4327-92D9-CD461BCFA569}" srcOrd="0" destOrd="0" presId="urn:microsoft.com/office/officeart/2005/8/layout/hierarchy3"/>
    <dgm:cxn modelId="{1882E89C-88D8-4654-86F7-D457214DEB3D}" type="presOf" srcId="{AE3C0F80-56C3-4DD4-B7FB-1B40A74164DA}" destId="{988CAF1D-11FE-40B1-B810-7748876A841B}" srcOrd="0" destOrd="0" presId="urn:microsoft.com/office/officeart/2005/8/layout/hierarchy3"/>
    <dgm:cxn modelId="{CA11ADAD-8463-4580-9929-1CE1A79C4CC6}" type="presOf" srcId="{B2273C5D-83FD-46DB-B485-B253EA41D416}" destId="{B60A617C-BF20-472B-8E26-8EF1F04CB496}" srcOrd="0" destOrd="0" presId="urn:microsoft.com/office/officeart/2005/8/layout/hierarchy3"/>
    <dgm:cxn modelId="{4402A401-02EA-498E-820B-7D06ECCEABC2}" srcId="{105464F9-AA7B-46FA-BD94-B7B4D7BCB3AA}" destId="{A4DD546E-16B6-4260-A7DD-E9E3B725CACF}" srcOrd="2" destOrd="0" parTransId="{8F330232-D88E-4329-AED3-BEDF393A8705}" sibTransId="{817AF6A1-FEA6-475E-B498-1A8A98A795D2}"/>
    <dgm:cxn modelId="{5A675780-20A3-48AE-94B7-A3B90A47BAA0}" type="presParOf" srcId="{5952F7FE-1612-43BB-AAF1-FBE5A7C81CDA}" destId="{2FDA6064-EB2E-4CB4-92DE-D2F44B83B649}" srcOrd="0" destOrd="0" presId="urn:microsoft.com/office/officeart/2005/8/layout/hierarchy3"/>
    <dgm:cxn modelId="{DC7EEBF4-4E9B-4495-A876-93937A56839D}" type="presParOf" srcId="{2FDA6064-EB2E-4CB4-92DE-D2F44B83B649}" destId="{1F65B8CA-56D0-476A-BE62-BEFCCFA66024}" srcOrd="0" destOrd="0" presId="urn:microsoft.com/office/officeart/2005/8/layout/hierarchy3"/>
    <dgm:cxn modelId="{44C6CB41-9D37-456D-BCAD-029FD672F416}" type="presParOf" srcId="{1F65B8CA-56D0-476A-BE62-BEFCCFA66024}" destId="{FA49475B-60C9-40FB-A71F-EADE6A9362D0}" srcOrd="0" destOrd="0" presId="urn:microsoft.com/office/officeart/2005/8/layout/hierarchy3"/>
    <dgm:cxn modelId="{A07B260E-2575-4025-9BD0-17EC44566D6E}" type="presParOf" srcId="{1F65B8CA-56D0-476A-BE62-BEFCCFA66024}" destId="{2EC82A31-8F55-4C38-AC6B-E0F294D4B790}" srcOrd="1" destOrd="0" presId="urn:microsoft.com/office/officeart/2005/8/layout/hierarchy3"/>
    <dgm:cxn modelId="{645FCB98-8879-48DC-A80B-221538F6DC14}" type="presParOf" srcId="{2FDA6064-EB2E-4CB4-92DE-D2F44B83B649}" destId="{CB0D37EC-EC66-4921-A893-948724EC1F34}" srcOrd="1" destOrd="0" presId="urn:microsoft.com/office/officeart/2005/8/layout/hierarchy3"/>
    <dgm:cxn modelId="{4FA09459-CC53-443A-940F-CF17693E8CE1}" type="presParOf" srcId="{CB0D37EC-EC66-4921-A893-948724EC1F34}" destId="{15720396-0C31-4BB5-BB13-FCF99A511083}" srcOrd="0" destOrd="0" presId="urn:microsoft.com/office/officeart/2005/8/layout/hierarchy3"/>
    <dgm:cxn modelId="{82CAF0DB-EBD1-49C1-BD41-1DBD5A57CA30}" type="presParOf" srcId="{CB0D37EC-EC66-4921-A893-948724EC1F34}" destId="{16981D97-F2D7-4A0A-8758-C7E683B57853}" srcOrd="1" destOrd="0" presId="urn:microsoft.com/office/officeart/2005/8/layout/hierarchy3"/>
    <dgm:cxn modelId="{E65F8330-5246-41DC-933C-CE3DA924BDF4}" type="presParOf" srcId="{CB0D37EC-EC66-4921-A893-948724EC1F34}" destId="{2A8D3DE1-9470-402E-B1CE-8CA558C365FC}" srcOrd="2" destOrd="0" presId="urn:microsoft.com/office/officeart/2005/8/layout/hierarchy3"/>
    <dgm:cxn modelId="{799BBA25-DFBF-4190-AAB7-ECAE2F3CFBAC}" type="presParOf" srcId="{CB0D37EC-EC66-4921-A893-948724EC1F34}" destId="{0FFB1287-BB2C-4960-BBF4-435F74D96CF3}" srcOrd="3" destOrd="0" presId="urn:microsoft.com/office/officeart/2005/8/layout/hierarchy3"/>
    <dgm:cxn modelId="{2980569B-564E-463C-95A1-A6693EA1BBEC}" type="presParOf" srcId="{CB0D37EC-EC66-4921-A893-948724EC1F34}" destId="{95BD03FA-3328-4227-8557-D1859BFC1021}" srcOrd="4" destOrd="0" presId="urn:microsoft.com/office/officeart/2005/8/layout/hierarchy3"/>
    <dgm:cxn modelId="{CA193211-6931-439B-9180-9E6C26F9358F}" type="presParOf" srcId="{CB0D37EC-EC66-4921-A893-948724EC1F34}" destId="{5354A73A-82BA-44C1-9BB0-C0FC83F9D1FC}" srcOrd="5" destOrd="0" presId="urn:microsoft.com/office/officeart/2005/8/layout/hierarchy3"/>
    <dgm:cxn modelId="{89995C1D-EC3B-4EFD-89FC-F7252CAFC3E9}" type="presParOf" srcId="{5952F7FE-1612-43BB-AAF1-FBE5A7C81CDA}" destId="{F59EAB3B-CE16-432F-856F-7FFB5F989E59}" srcOrd="1" destOrd="0" presId="urn:microsoft.com/office/officeart/2005/8/layout/hierarchy3"/>
    <dgm:cxn modelId="{8DC9AD39-4E48-4093-B0F0-21C619E744C0}" type="presParOf" srcId="{F59EAB3B-CE16-432F-856F-7FFB5F989E59}" destId="{B06AD80F-4590-4801-9A73-52A86BEADF95}" srcOrd="0" destOrd="0" presId="urn:microsoft.com/office/officeart/2005/8/layout/hierarchy3"/>
    <dgm:cxn modelId="{CD398E85-3A51-4A3F-BEB7-AB6DA37F1B47}" type="presParOf" srcId="{B06AD80F-4590-4801-9A73-52A86BEADF95}" destId="{BB04E664-0013-4E80-92DE-841A5EA8103D}" srcOrd="0" destOrd="0" presId="urn:microsoft.com/office/officeart/2005/8/layout/hierarchy3"/>
    <dgm:cxn modelId="{8F13C917-8DEE-447F-B405-6F186AD3FB3A}" type="presParOf" srcId="{B06AD80F-4590-4801-9A73-52A86BEADF95}" destId="{2C80D01B-A04D-423D-943A-9D9AEB22C9D8}" srcOrd="1" destOrd="0" presId="urn:microsoft.com/office/officeart/2005/8/layout/hierarchy3"/>
    <dgm:cxn modelId="{42432BD5-0E92-4CA2-A612-0B52153D49EA}" type="presParOf" srcId="{F59EAB3B-CE16-432F-856F-7FFB5F989E59}" destId="{2D1FE678-5D45-4419-94AF-56F2C0663FB7}" srcOrd="1" destOrd="0" presId="urn:microsoft.com/office/officeart/2005/8/layout/hierarchy3"/>
    <dgm:cxn modelId="{3464557D-1EDF-4081-97E7-F6AD3ED861E0}" type="presParOf" srcId="{2D1FE678-5D45-4419-94AF-56F2C0663FB7}" destId="{5D4143B6-D761-40CE-B9D4-C4A64946CF16}" srcOrd="0" destOrd="0" presId="urn:microsoft.com/office/officeart/2005/8/layout/hierarchy3"/>
    <dgm:cxn modelId="{05C26740-649C-4B62-81B3-545890F3EF89}" type="presParOf" srcId="{2D1FE678-5D45-4419-94AF-56F2C0663FB7}" destId="{6AD1DCE5-82B5-44C3-B01A-DE5A204DF392}" srcOrd="1" destOrd="0" presId="urn:microsoft.com/office/officeart/2005/8/layout/hierarchy3"/>
    <dgm:cxn modelId="{AC51C1DB-E531-4372-B7EE-C33199B6BAAC}" type="presParOf" srcId="{2D1FE678-5D45-4419-94AF-56F2C0663FB7}" destId="{B60A617C-BF20-472B-8E26-8EF1F04CB496}" srcOrd="2" destOrd="0" presId="urn:microsoft.com/office/officeart/2005/8/layout/hierarchy3"/>
    <dgm:cxn modelId="{70E80886-A56D-4FF3-9A1E-F5525A33D7AD}" type="presParOf" srcId="{2D1FE678-5D45-4419-94AF-56F2C0663FB7}" destId="{988CAF1D-11FE-40B1-B810-7748876A841B}" srcOrd="3" destOrd="0" presId="urn:microsoft.com/office/officeart/2005/8/layout/hierarchy3"/>
    <dgm:cxn modelId="{1149EC41-D6A9-4790-BF10-459B645E7979}" type="presParOf" srcId="{2D1FE678-5D45-4419-94AF-56F2C0663FB7}" destId="{C7970030-166C-4A78-91B1-FA82F12A946A}" srcOrd="4" destOrd="0" presId="urn:microsoft.com/office/officeart/2005/8/layout/hierarchy3"/>
    <dgm:cxn modelId="{E9D28465-52F8-4848-8719-9E3885F72EA0}" type="presParOf" srcId="{2D1FE678-5D45-4419-94AF-56F2C0663FB7}" destId="{62930F84-9C04-4327-92D9-CD461BCFA569}" srcOrd="5" destOrd="0" presId="urn:microsoft.com/office/officeart/2005/8/layout/hierarchy3"/>
    <dgm:cxn modelId="{5094E85D-4357-4D7D-9BF7-55D8C8D44D26}" type="presParOf" srcId="{2D1FE678-5D45-4419-94AF-56F2C0663FB7}" destId="{EC557CDE-5A02-4B3C-AAF0-2B28E8A68615}" srcOrd="6" destOrd="0" presId="urn:microsoft.com/office/officeart/2005/8/layout/hierarchy3"/>
    <dgm:cxn modelId="{4D160A1C-512F-406D-8F79-7C7FF874B6E6}" type="presParOf" srcId="{2D1FE678-5D45-4419-94AF-56F2C0663FB7}" destId="{57963C1D-E97F-4381-B5AF-5F70506646FA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37C64A6-7A70-4F43-BFB9-B39807EB32C3}" type="doc">
      <dgm:prSet loTypeId="urn:microsoft.com/office/officeart/2005/8/layout/vList3#1" loCatId="list" qsTypeId="urn:microsoft.com/office/officeart/2005/8/quickstyle/simple1" qsCatId="simple" csTypeId="urn:microsoft.com/office/officeart/2005/8/colors/colorful1#1" csCatId="colorful" phldr="1"/>
      <dgm:spPr/>
    </dgm:pt>
    <dgm:pt modelId="{DC41A1FF-4DE9-4ED2-B154-8C5BCC81E678}">
      <dgm:prSet phldrT="[Texte]" custT="1"/>
      <dgm:spPr/>
      <dgm:t>
        <a:bodyPr/>
        <a:lstStyle/>
        <a:p>
          <a:pPr algn="l"/>
          <a:r>
            <a:rPr lang="fr-FR" sz="1800" dirty="0" smtClean="0"/>
            <a:t> Faire du Sénégal une plaque tournante (hub) et une escale technique préférentielle en Afrique de l’ouest pour le trafic aérien;</a:t>
          </a:r>
          <a:endParaRPr lang="fr-FR" sz="1800" dirty="0"/>
        </a:p>
      </dgm:t>
    </dgm:pt>
    <dgm:pt modelId="{924BEFCE-4210-4B16-A68B-9AB80FDEF065}" type="parTrans" cxnId="{E9DAE130-B95A-4F78-8DA0-52C3A130910F}">
      <dgm:prSet/>
      <dgm:spPr/>
      <dgm:t>
        <a:bodyPr/>
        <a:lstStyle/>
        <a:p>
          <a:endParaRPr lang="fr-FR"/>
        </a:p>
      </dgm:t>
    </dgm:pt>
    <dgm:pt modelId="{63A863C3-AF8A-4D21-BEC9-E8A56943DB0B}" type="sibTrans" cxnId="{E9DAE130-B95A-4F78-8DA0-52C3A130910F}">
      <dgm:prSet/>
      <dgm:spPr/>
      <dgm:t>
        <a:bodyPr/>
        <a:lstStyle/>
        <a:p>
          <a:endParaRPr lang="fr-FR"/>
        </a:p>
      </dgm:t>
    </dgm:pt>
    <dgm:pt modelId="{EFB3AFC7-5B79-4F84-8C44-F2454E195448}">
      <dgm:prSet phldrT="[Texte]" custT="1"/>
      <dgm:spPr/>
      <dgm:t>
        <a:bodyPr/>
        <a:lstStyle/>
        <a:p>
          <a:pPr algn="l"/>
          <a:r>
            <a:rPr lang="fr-FR" sz="2000" dirty="0" smtClean="0"/>
            <a:t> Promouvoir les activités touristiques;</a:t>
          </a:r>
          <a:endParaRPr lang="fr-FR" sz="2000" dirty="0"/>
        </a:p>
      </dgm:t>
    </dgm:pt>
    <dgm:pt modelId="{A82D78E3-91BA-4B0A-8A4A-C8E308502F73}" type="parTrans" cxnId="{147C6157-9221-4C0A-A639-139FC5B9B789}">
      <dgm:prSet/>
      <dgm:spPr/>
      <dgm:t>
        <a:bodyPr/>
        <a:lstStyle/>
        <a:p>
          <a:endParaRPr lang="fr-FR"/>
        </a:p>
      </dgm:t>
    </dgm:pt>
    <dgm:pt modelId="{A1C4517D-A44D-48B6-8D2D-05E3628C2639}" type="sibTrans" cxnId="{147C6157-9221-4C0A-A639-139FC5B9B789}">
      <dgm:prSet/>
      <dgm:spPr/>
      <dgm:t>
        <a:bodyPr/>
        <a:lstStyle/>
        <a:p>
          <a:endParaRPr lang="fr-FR"/>
        </a:p>
      </dgm:t>
    </dgm:pt>
    <dgm:pt modelId="{B16F0E73-880D-4ABF-A508-704BE5283A93}">
      <dgm:prSet/>
      <dgm:spPr/>
      <dgm:t>
        <a:bodyPr/>
        <a:lstStyle/>
        <a:p>
          <a:pPr algn="l"/>
          <a:r>
            <a:rPr lang="fr-FR" dirty="0" smtClean="0"/>
            <a:t>Contribuer à améliorer l’aménagement du territoire en décongestionnant Dakar et en favorisant l’émergence d’un deuxième pôle économique à l’extérieur de Dakar;</a:t>
          </a:r>
          <a:endParaRPr lang="fr-FR" dirty="0"/>
        </a:p>
      </dgm:t>
    </dgm:pt>
    <dgm:pt modelId="{E11D7BB7-BA49-45F7-9019-289AB001EC6D}" type="parTrans" cxnId="{58F5396C-DE7F-4A72-8DB8-3A34D00409D5}">
      <dgm:prSet/>
      <dgm:spPr/>
      <dgm:t>
        <a:bodyPr/>
        <a:lstStyle/>
        <a:p>
          <a:endParaRPr lang="fr-FR"/>
        </a:p>
      </dgm:t>
    </dgm:pt>
    <dgm:pt modelId="{46281F17-F846-4A20-A38F-9A5315B004D2}" type="sibTrans" cxnId="{58F5396C-DE7F-4A72-8DB8-3A34D00409D5}">
      <dgm:prSet/>
      <dgm:spPr/>
      <dgm:t>
        <a:bodyPr/>
        <a:lstStyle/>
        <a:p>
          <a:endParaRPr lang="fr-FR"/>
        </a:p>
      </dgm:t>
    </dgm:pt>
    <dgm:pt modelId="{565092C2-867E-45BE-8BEC-36181E49E3BD}">
      <dgm:prSet custT="1"/>
      <dgm:spPr/>
      <dgm:t>
        <a:bodyPr/>
        <a:lstStyle/>
        <a:p>
          <a:pPr algn="l"/>
          <a:r>
            <a:rPr lang="fr-FR" sz="1800" dirty="0" smtClean="0"/>
            <a:t>Développer les exportations et jouer un rôle de moteur économique dans l’espace régional;</a:t>
          </a:r>
          <a:endParaRPr lang="fr-FR" sz="1800" dirty="0"/>
        </a:p>
      </dgm:t>
    </dgm:pt>
    <dgm:pt modelId="{C5F572AA-2511-4FBC-9158-D27FFFDC477E}" type="parTrans" cxnId="{D1E1A1D6-A45B-47D4-8F01-2E8A793E4A0C}">
      <dgm:prSet/>
      <dgm:spPr/>
      <dgm:t>
        <a:bodyPr/>
        <a:lstStyle/>
        <a:p>
          <a:endParaRPr lang="fr-FR"/>
        </a:p>
      </dgm:t>
    </dgm:pt>
    <dgm:pt modelId="{79265142-F92C-4376-8274-AD9EE68CD616}" type="sibTrans" cxnId="{D1E1A1D6-A45B-47D4-8F01-2E8A793E4A0C}">
      <dgm:prSet/>
      <dgm:spPr/>
      <dgm:t>
        <a:bodyPr/>
        <a:lstStyle/>
        <a:p>
          <a:endParaRPr lang="fr-FR"/>
        </a:p>
      </dgm:t>
    </dgm:pt>
    <dgm:pt modelId="{5D1637D2-B140-4731-8B2C-6BDCA850D1C7}">
      <dgm:prSet custT="1"/>
      <dgm:spPr/>
      <dgm:t>
        <a:bodyPr/>
        <a:lstStyle/>
        <a:p>
          <a:pPr algn="l"/>
          <a:r>
            <a:rPr lang="fr-FR" sz="1800" dirty="0" smtClean="0"/>
            <a:t>Disposer de l’espace nécessaire pour le développement d’activités industrielles liées à l’aéroport (maintenance aéronautique, Fret aérien, zone de libre échange , cité aéroportuaire etc.).</a:t>
          </a:r>
          <a:endParaRPr lang="fr-FR" sz="1800" dirty="0"/>
        </a:p>
      </dgm:t>
    </dgm:pt>
    <dgm:pt modelId="{72B5953D-8FD9-411A-94E9-678B72826FE1}" type="parTrans" cxnId="{1F848396-E56C-4010-AE13-3AC4A1D8FBEF}">
      <dgm:prSet/>
      <dgm:spPr/>
      <dgm:t>
        <a:bodyPr/>
        <a:lstStyle/>
        <a:p>
          <a:endParaRPr lang="fr-FR"/>
        </a:p>
      </dgm:t>
    </dgm:pt>
    <dgm:pt modelId="{BD773DD0-7508-4175-9AA6-6A92E101B3E1}" type="sibTrans" cxnId="{1F848396-E56C-4010-AE13-3AC4A1D8FBEF}">
      <dgm:prSet/>
      <dgm:spPr/>
      <dgm:t>
        <a:bodyPr/>
        <a:lstStyle/>
        <a:p>
          <a:endParaRPr lang="fr-FR"/>
        </a:p>
      </dgm:t>
    </dgm:pt>
    <dgm:pt modelId="{9861C0CC-3701-439F-854A-169EC612ED34}" type="pres">
      <dgm:prSet presAssocID="{837C64A6-7A70-4F43-BFB9-B39807EB32C3}" presName="linearFlow" presStyleCnt="0">
        <dgm:presLayoutVars>
          <dgm:dir/>
          <dgm:resizeHandles val="exact"/>
        </dgm:presLayoutVars>
      </dgm:prSet>
      <dgm:spPr/>
    </dgm:pt>
    <dgm:pt modelId="{0D3A8B9C-604F-4281-B9FB-DAF3536C6D6E}" type="pres">
      <dgm:prSet presAssocID="{DC41A1FF-4DE9-4ED2-B154-8C5BCC81E678}" presName="composite" presStyleCnt="0"/>
      <dgm:spPr/>
    </dgm:pt>
    <dgm:pt modelId="{97E89F74-2A63-41BD-9D5C-6AD216CCA1D6}" type="pres">
      <dgm:prSet presAssocID="{DC41A1FF-4DE9-4ED2-B154-8C5BCC81E678}" presName="imgShp" presStyleLbl="fgImgPlace1" presStyleIdx="0" presStyleCnt="5" custLinFactX="-8337" custLinFactNeighborX="-100000" custLinFactNeighborY="8307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A752D6E6-BE72-4029-8D79-C45463526A86}" type="pres">
      <dgm:prSet presAssocID="{DC41A1FF-4DE9-4ED2-B154-8C5BCC81E678}" presName="txShp" presStyleLbl="node1" presStyleIdx="0" presStyleCnt="5" custScaleX="132535" custScaleY="103014" custLinFactNeighborX="7646" custLinFactNeighborY="-13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A376E34-FE77-4AF4-9FAF-E8CD617B20AC}" type="pres">
      <dgm:prSet presAssocID="{63A863C3-AF8A-4D21-BEC9-E8A56943DB0B}" presName="spacing" presStyleCnt="0"/>
      <dgm:spPr/>
    </dgm:pt>
    <dgm:pt modelId="{2BA87F1C-714B-4086-91BE-E911FB06E567}" type="pres">
      <dgm:prSet presAssocID="{EFB3AFC7-5B79-4F84-8C44-F2454E195448}" presName="composite" presStyleCnt="0"/>
      <dgm:spPr/>
    </dgm:pt>
    <dgm:pt modelId="{4D053CE8-B800-4FD5-8241-15147D905B4E}" type="pres">
      <dgm:prSet presAssocID="{EFB3AFC7-5B79-4F84-8C44-F2454E195448}" presName="imgShp" presStyleLbl="fgImgPlace1" presStyleIdx="1" presStyleCnt="5" custLinFactY="23156" custLinFactNeighborX="-99899" custLinFactNeighborY="100000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BAA08F02-E357-4943-899E-EDC158C7F6B2}" type="pres">
      <dgm:prSet presAssocID="{EFB3AFC7-5B79-4F84-8C44-F2454E195448}" presName="txShp" presStyleLbl="node1" presStyleIdx="1" presStyleCnt="5" custScaleX="133135" custLinFactY="23088" custLinFactNeighborX="7946" custLinFactNeighborY="1000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8721F33-1849-488A-AC4C-88F299836EA3}" type="pres">
      <dgm:prSet presAssocID="{A1C4517D-A44D-48B6-8D2D-05E3628C2639}" presName="spacing" presStyleCnt="0"/>
      <dgm:spPr/>
    </dgm:pt>
    <dgm:pt modelId="{8164515C-7503-4F76-B7A7-EF249CC2E2BA}" type="pres">
      <dgm:prSet presAssocID="{5D1637D2-B140-4731-8B2C-6BDCA850D1C7}" presName="composite" presStyleCnt="0"/>
      <dgm:spPr/>
    </dgm:pt>
    <dgm:pt modelId="{862CFEF9-2597-4241-B9D0-1764ED4A38A8}" type="pres">
      <dgm:prSet presAssocID="{5D1637D2-B140-4731-8B2C-6BDCA850D1C7}" presName="imgShp" presStyleLbl="fgImgPlace1" presStyleIdx="2" presStyleCnt="5" custLinFactX="-1628" custLinFactY="-48886" custLinFactNeighborX="-100000" custLinFactNeighborY="-100000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2352B212-69AE-4383-BA20-929995972136}" type="pres">
      <dgm:prSet presAssocID="{5D1637D2-B140-4731-8B2C-6BDCA850D1C7}" presName="txShp" presStyleLbl="node1" presStyleIdx="2" presStyleCnt="5" custScaleX="137019" custScaleY="142857" custLinFactY="100000" custLinFactNeighborX="7347" custLinFactNeighborY="15488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FFE321E-D4F4-4EB6-B1BB-957E7CC18388}" type="pres">
      <dgm:prSet presAssocID="{BD773DD0-7508-4175-9AA6-6A92E101B3E1}" presName="spacing" presStyleCnt="0"/>
      <dgm:spPr/>
    </dgm:pt>
    <dgm:pt modelId="{2C8FA1CA-731C-4046-8B10-A91237CAAA0C}" type="pres">
      <dgm:prSet presAssocID="{565092C2-867E-45BE-8BEC-36181E49E3BD}" presName="composite" presStyleCnt="0"/>
      <dgm:spPr/>
    </dgm:pt>
    <dgm:pt modelId="{5C48090E-C64C-4266-92E0-3D1BCC3FD32E}" type="pres">
      <dgm:prSet presAssocID="{565092C2-867E-45BE-8BEC-36181E49E3BD}" presName="imgShp" presStyleLbl="fgImgPlace1" presStyleIdx="3" presStyleCnt="5" custScaleX="112682" custScaleY="96177" custLinFactNeighborX="-96415" custLinFactNeighborY="-48076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  <dgm:pt modelId="{378B9385-535D-44C5-866D-02D7D6E4EEAE}" type="pres">
      <dgm:prSet presAssocID="{565092C2-867E-45BE-8BEC-36181E49E3BD}" presName="txShp" presStyleLbl="node1" presStyleIdx="3" presStyleCnt="5" custScaleX="133133" custLinFactNeighborX="8453" custLinFactNeighborY="-5040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32C9DFD-FDB1-477C-AE59-EA6C886C80F2}" type="pres">
      <dgm:prSet presAssocID="{79265142-F92C-4376-8274-AD9EE68CD616}" presName="spacing" presStyleCnt="0"/>
      <dgm:spPr/>
    </dgm:pt>
    <dgm:pt modelId="{B00AF1AF-0F4D-45CC-8FF3-F79FD9B5013F}" type="pres">
      <dgm:prSet presAssocID="{B16F0E73-880D-4ABF-A508-704BE5283A93}" presName="composite" presStyleCnt="0"/>
      <dgm:spPr/>
    </dgm:pt>
    <dgm:pt modelId="{5906EC76-5DED-49F4-BB2F-45F6AB816BED}" type="pres">
      <dgm:prSet presAssocID="{B16F0E73-880D-4ABF-A508-704BE5283A93}" presName="imgShp" presStyleLbl="fgImgPlace1" presStyleIdx="4" presStyleCnt="5" custScaleX="105848" custLinFactX="-5421" custLinFactNeighborX="-100000" custLinFactNeighborY="-25547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E7FF6675-F4C8-41DE-A4D5-911415971834}" type="pres">
      <dgm:prSet presAssocID="{B16F0E73-880D-4ABF-A508-704BE5283A93}" presName="txShp" presStyleLbl="node1" presStyleIdx="4" presStyleCnt="5" custScaleX="131935" custScaleY="104187" custLinFactY="-200000" custLinFactNeighborX="6827" custLinFactNeighborY="-22861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58F5396C-DE7F-4A72-8DB8-3A34D00409D5}" srcId="{837C64A6-7A70-4F43-BFB9-B39807EB32C3}" destId="{B16F0E73-880D-4ABF-A508-704BE5283A93}" srcOrd="4" destOrd="0" parTransId="{E11D7BB7-BA49-45F7-9019-289AB001EC6D}" sibTransId="{46281F17-F846-4A20-A38F-9A5315B004D2}"/>
    <dgm:cxn modelId="{147C6157-9221-4C0A-A639-139FC5B9B789}" srcId="{837C64A6-7A70-4F43-BFB9-B39807EB32C3}" destId="{EFB3AFC7-5B79-4F84-8C44-F2454E195448}" srcOrd="1" destOrd="0" parTransId="{A82D78E3-91BA-4B0A-8A4A-C8E308502F73}" sibTransId="{A1C4517D-A44D-48B6-8D2D-05E3628C2639}"/>
    <dgm:cxn modelId="{B1B676D8-3759-4810-9646-E714836BB2A4}" type="presOf" srcId="{837C64A6-7A70-4F43-BFB9-B39807EB32C3}" destId="{9861C0CC-3701-439F-854A-169EC612ED34}" srcOrd="0" destOrd="0" presId="urn:microsoft.com/office/officeart/2005/8/layout/vList3#1"/>
    <dgm:cxn modelId="{D1E1A1D6-A45B-47D4-8F01-2E8A793E4A0C}" srcId="{837C64A6-7A70-4F43-BFB9-B39807EB32C3}" destId="{565092C2-867E-45BE-8BEC-36181E49E3BD}" srcOrd="3" destOrd="0" parTransId="{C5F572AA-2511-4FBC-9158-D27FFFDC477E}" sibTransId="{79265142-F92C-4376-8274-AD9EE68CD616}"/>
    <dgm:cxn modelId="{597C283D-9AC2-41E8-9537-8748ED4AB42A}" type="presOf" srcId="{DC41A1FF-4DE9-4ED2-B154-8C5BCC81E678}" destId="{A752D6E6-BE72-4029-8D79-C45463526A86}" srcOrd="0" destOrd="0" presId="urn:microsoft.com/office/officeart/2005/8/layout/vList3#1"/>
    <dgm:cxn modelId="{4F5CB3D9-A354-4A27-933F-8216BBB65BFA}" type="presOf" srcId="{565092C2-867E-45BE-8BEC-36181E49E3BD}" destId="{378B9385-535D-44C5-866D-02D7D6E4EEAE}" srcOrd="0" destOrd="0" presId="urn:microsoft.com/office/officeart/2005/8/layout/vList3#1"/>
    <dgm:cxn modelId="{E9DAE130-B95A-4F78-8DA0-52C3A130910F}" srcId="{837C64A6-7A70-4F43-BFB9-B39807EB32C3}" destId="{DC41A1FF-4DE9-4ED2-B154-8C5BCC81E678}" srcOrd="0" destOrd="0" parTransId="{924BEFCE-4210-4B16-A68B-9AB80FDEF065}" sibTransId="{63A863C3-AF8A-4D21-BEC9-E8A56943DB0B}"/>
    <dgm:cxn modelId="{DFEEF713-271F-4366-BAEC-A7195FF46DE3}" type="presOf" srcId="{B16F0E73-880D-4ABF-A508-704BE5283A93}" destId="{E7FF6675-F4C8-41DE-A4D5-911415971834}" srcOrd="0" destOrd="0" presId="urn:microsoft.com/office/officeart/2005/8/layout/vList3#1"/>
    <dgm:cxn modelId="{9D0733F5-2B7E-4157-9F3D-E0E65658B29E}" type="presOf" srcId="{EFB3AFC7-5B79-4F84-8C44-F2454E195448}" destId="{BAA08F02-E357-4943-899E-EDC158C7F6B2}" srcOrd="0" destOrd="0" presId="urn:microsoft.com/office/officeart/2005/8/layout/vList3#1"/>
    <dgm:cxn modelId="{C538CED3-5ACC-4E06-89D1-E694ADF95B18}" type="presOf" srcId="{5D1637D2-B140-4731-8B2C-6BDCA850D1C7}" destId="{2352B212-69AE-4383-BA20-929995972136}" srcOrd="0" destOrd="0" presId="urn:microsoft.com/office/officeart/2005/8/layout/vList3#1"/>
    <dgm:cxn modelId="{1F848396-E56C-4010-AE13-3AC4A1D8FBEF}" srcId="{837C64A6-7A70-4F43-BFB9-B39807EB32C3}" destId="{5D1637D2-B140-4731-8B2C-6BDCA850D1C7}" srcOrd="2" destOrd="0" parTransId="{72B5953D-8FD9-411A-94E9-678B72826FE1}" sibTransId="{BD773DD0-7508-4175-9AA6-6A92E101B3E1}"/>
    <dgm:cxn modelId="{8A1EDF00-E3EF-421A-B139-CD7B62C7A280}" type="presParOf" srcId="{9861C0CC-3701-439F-854A-169EC612ED34}" destId="{0D3A8B9C-604F-4281-B9FB-DAF3536C6D6E}" srcOrd="0" destOrd="0" presId="urn:microsoft.com/office/officeart/2005/8/layout/vList3#1"/>
    <dgm:cxn modelId="{1BA95FC9-FB09-4BCE-BC56-7ECB2B96A644}" type="presParOf" srcId="{0D3A8B9C-604F-4281-B9FB-DAF3536C6D6E}" destId="{97E89F74-2A63-41BD-9D5C-6AD216CCA1D6}" srcOrd="0" destOrd="0" presId="urn:microsoft.com/office/officeart/2005/8/layout/vList3#1"/>
    <dgm:cxn modelId="{ADDCB6B8-3A07-4ED3-AE64-8E262FD82CB7}" type="presParOf" srcId="{0D3A8B9C-604F-4281-B9FB-DAF3536C6D6E}" destId="{A752D6E6-BE72-4029-8D79-C45463526A86}" srcOrd="1" destOrd="0" presId="urn:microsoft.com/office/officeart/2005/8/layout/vList3#1"/>
    <dgm:cxn modelId="{95EB090E-AD88-4C4C-B4E1-11BBEF32E641}" type="presParOf" srcId="{9861C0CC-3701-439F-854A-169EC612ED34}" destId="{2A376E34-FE77-4AF4-9FAF-E8CD617B20AC}" srcOrd="1" destOrd="0" presId="urn:microsoft.com/office/officeart/2005/8/layout/vList3#1"/>
    <dgm:cxn modelId="{F2EC06DA-EA3C-45CA-9F59-B1E5132E6B9A}" type="presParOf" srcId="{9861C0CC-3701-439F-854A-169EC612ED34}" destId="{2BA87F1C-714B-4086-91BE-E911FB06E567}" srcOrd="2" destOrd="0" presId="urn:microsoft.com/office/officeart/2005/8/layout/vList3#1"/>
    <dgm:cxn modelId="{CCD003A1-DC22-405B-992B-F35690287AEB}" type="presParOf" srcId="{2BA87F1C-714B-4086-91BE-E911FB06E567}" destId="{4D053CE8-B800-4FD5-8241-15147D905B4E}" srcOrd="0" destOrd="0" presId="urn:microsoft.com/office/officeart/2005/8/layout/vList3#1"/>
    <dgm:cxn modelId="{01E2F9CA-6050-4509-8E92-66D2B47CEAD6}" type="presParOf" srcId="{2BA87F1C-714B-4086-91BE-E911FB06E567}" destId="{BAA08F02-E357-4943-899E-EDC158C7F6B2}" srcOrd="1" destOrd="0" presId="urn:microsoft.com/office/officeart/2005/8/layout/vList3#1"/>
    <dgm:cxn modelId="{297A18F3-56BA-4AA2-B339-5E390FF467D6}" type="presParOf" srcId="{9861C0CC-3701-439F-854A-169EC612ED34}" destId="{E8721F33-1849-488A-AC4C-88F299836EA3}" srcOrd="3" destOrd="0" presId="urn:microsoft.com/office/officeart/2005/8/layout/vList3#1"/>
    <dgm:cxn modelId="{ACE8099F-165A-4455-BB90-D7593D3CDA40}" type="presParOf" srcId="{9861C0CC-3701-439F-854A-169EC612ED34}" destId="{8164515C-7503-4F76-B7A7-EF249CC2E2BA}" srcOrd="4" destOrd="0" presId="urn:microsoft.com/office/officeart/2005/8/layout/vList3#1"/>
    <dgm:cxn modelId="{D339BBA2-9994-4A3A-A9E5-D8194024EAB8}" type="presParOf" srcId="{8164515C-7503-4F76-B7A7-EF249CC2E2BA}" destId="{862CFEF9-2597-4241-B9D0-1764ED4A38A8}" srcOrd="0" destOrd="0" presId="urn:microsoft.com/office/officeart/2005/8/layout/vList3#1"/>
    <dgm:cxn modelId="{3D8FA1C1-C77B-4F7E-8966-D17821FF5C05}" type="presParOf" srcId="{8164515C-7503-4F76-B7A7-EF249CC2E2BA}" destId="{2352B212-69AE-4383-BA20-929995972136}" srcOrd="1" destOrd="0" presId="urn:microsoft.com/office/officeart/2005/8/layout/vList3#1"/>
    <dgm:cxn modelId="{78307BDC-9890-4C2A-A3B2-526F1211D9E4}" type="presParOf" srcId="{9861C0CC-3701-439F-854A-169EC612ED34}" destId="{8FFE321E-D4F4-4EB6-B1BB-957E7CC18388}" srcOrd="5" destOrd="0" presId="urn:microsoft.com/office/officeart/2005/8/layout/vList3#1"/>
    <dgm:cxn modelId="{5CE637F7-C696-4388-8DE6-B4ADA0933EBC}" type="presParOf" srcId="{9861C0CC-3701-439F-854A-169EC612ED34}" destId="{2C8FA1CA-731C-4046-8B10-A91237CAAA0C}" srcOrd="6" destOrd="0" presId="urn:microsoft.com/office/officeart/2005/8/layout/vList3#1"/>
    <dgm:cxn modelId="{8E29FBD0-543B-47AA-8AC7-7466F79B3A4C}" type="presParOf" srcId="{2C8FA1CA-731C-4046-8B10-A91237CAAA0C}" destId="{5C48090E-C64C-4266-92E0-3D1BCC3FD32E}" srcOrd="0" destOrd="0" presId="urn:microsoft.com/office/officeart/2005/8/layout/vList3#1"/>
    <dgm:cxn modelId="{4EECBF5D-6615-4D5F-A84E-AB8AFD0E6AC4}" type="presParOf" srcId="{2C8FA1CA-731C-4046-8B10-A91237CAAA0C}" destId="{378B9385-535D-44C5-866D-02D7D6E4EEAE}" srcOrd="1" destOrd="0" presId="urn:microsoft.com/office/officeart/2005/8/layout/vList3#1"/>
    <dgm:cxn modelId="{400DB2B0-4C48-4BA9-A48C-B01FE3ED551E}" type="presParOf" srcId="{9861C0CC-3701-439F-854A-169EC612ED34}" destId="{A32C9DFD-FDB1-477C-AE59-EA6C886C80F2}" srcOrd="7" destOrd="0" presId="urn:microsoft.com/office/officeart/2005/8/layout/vList3#1"/>
    <dgm:cxn modelId="{ABE7CC19-83EC-4DD7-AA64-84F17B635FC1}" type="presParOf" srcId="{9861C0CC-3701-439F-854A-169EC612ED34}" destId="{B00AF1AF-0F4D-45CC-8FF3-F79FD9B5013F}" srcOrd="8" destOrd="0" presId="urn:microsoft.com/office/officeart/2005/8/layout/vList3#1"/>
    <dgm:cxn modelId="{58801A43-D227-4E6D-8FE3-23E3B675D58E}" type="presParOf" srcId="{B00AF1AF-0F4D-45CC-8FF3-F79FD9B5013F}" destId="{5906EC76-5DED-49F4-BB2F-45F6AB816BED}" srcOrd="0" destOrd="0" presId="urn:microsoft.com/office/officeart/2005/8/layout/vList3#1"/>
    <dgm:cxn modelId="{66796047-08FE-40E3-AFB0-E0E466BEF067}" type="presParOf" srcId="{B00AF1AF-0F4D-45CC-8FF3-F79FD9B5013F}" destId="{E7FF6675-F4C8-41DE-A4D5-911415971834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BC57DD8-CC33-4687-A223-2ABBC068EC2B}" type="doc">
      <dgm:prSet loTypeId="urn:microsoft.com/office/officeart/2005/8/layout/pList2#1" loCatId="list" qsTypeId="urn:microsoft.com/office/officeart/2005/8/quickstyle/simple1" qsCatId="simple" csTypeId="urn:microsoft.com/office/officeart/2005/8/colors/accent1_2" csCatId="accent1" phldr="1"/>
      <dgm:spPr/>
    </dgm:pt>
    <dgm:pt modelId="{0131A17A-7243-4F8E-893A-3552BB85EEBE}">
      <dgm:prSet phldrT="[Texte]" custT="1"/>
      <dgm:spPr/>
      <dgm:t>
        <a:bodyPr/>
        <a:lstStyle/>
        <a:p>
          <a:pPr algn="l"/>
          <a:r>
            <a:rPr lang="fr-FR" sz="1400" b="1" dirty="0" smtClean="0"/>
            <a:t>-Piste de 3 500 ml x 75 ml</a:t>
          </a:r>
        </a:p>
        <a:p>
          <a:pPr algn="l"/>
          <a:r>
            <a:rPr lang="fr-FR" sz="1400" b="1" dirty="0" smtClean="0"/>
            <a:t>- Orientation Nord/Sud: 01/19</a:t>
          </a:r>
        </a:p>
        <a:p>
          <a:pPr algn="l"/>
          <a:r>
            <a:rPr lang="fr-FR" sz="1400" b="1" dirty="0" smtClean="0"/>
            <a:t>- Tout type y/c A380</a:t>
          </a:r>
        </a:p>
        <a:p>
          <a:pPr algn="l"/>
          <a:r>
            <a:rPr lang="fr-FR" sz="1400" b="1" dirty="0" smtClean="0"/>
            <a:t>-63 cm d’épaisseur</a:t>
          </a:r>
        </a:p>
        <a:p>
          <a:pPr algn="l"/>
          <a:r>
            <a:rPr lang="fr-FR" sz="1400" b="1" dirty="0" smtClean="0"/>
            <a:t>-Balisage lumineux axial et de bordure                                                                                                                              </a:t>
          </a:r>
        </a:p>
      </dgm:t>
    </dgm:pt>
    <dgm:pt modelId="{8AC8CE69-0052-4B43-BDE5-1BB678FA17BE}" type="parTrans" cxnId="{D4A4A9E1-D314-4F68-A8DE-41F1BD846058}">
      <dgm:prSet/>
      <dgm:spPr/>
      <dgm:t>
        <a:bodyPr/>
        <a:lstStyle/>
        <a:p>
          <a:endParaRPr lang="fr-FR"/>
        </a:p>
      </dgm:t>
    </dgm:pt>
    <dgm:pt modelId="{1B69D61E-EA86-490E-B829-376E45D56785}" type="sibTrans" cxnId="{D4A4A9E1-D314-4F68-A8DE-41F1BD846058}">
      <dgm:prSet/>
      <dgm:spPr/>
      <dgm:t>
        <a:bodyPr/>
        <a:lstStyle/>
        <a:p>
          <a:endParaRPr lang="fr-FR"/>
        </a:p>
      </dgm:t>
    </dgm:pt>
    <dgm:pt modelId="{6D2566D3-D5B5-4D3C-82D0-2CABAF215A79}">
      <dgm:prSet phldrT="[Texte]" custT="1"/>
      <dgm:spPr/>
      <dgm:t>
        <a:bodyPr/>
        <a:lstStyle/>
        <a:p>
          <a:pPr algn="l"/>
          <a:r>
            <a:rPr lang="fr-FR" sz="1400" b="0" dirty="0" smtClean="0"/>
            <a:t>- 14 km de Taxiway largeur 60 m avec balisage</a:t>
          </a:r>
        </a:p>
        <a:p>
          <a:pPr algn="l"/>
          <a:r>
            <a:rPr lang="fr-FR" sz="1400" b="0" dirty="0" smtClean="0"/>
            <a:t>-1 parallèle à la piste</a:t>
          </a:r>
        </a:p>
        <a:p>
          <a:pPr algn="l"/>
          <a:r>
            <a:rPr lang="fr-FR" sz="1400" b="0" dirty="0" smtClean="0"/>
            <a:t>-2 sorties rapides</a:t>
          </a:r>
        </a:p>
        <a:p>
          <a:pPr algn="l"/>
          <a:r>
            <a:rPr lang="fr-FR" sz="1400" b="0" dirty="0" smtClean="0"/>
            <a:t>-4 entrées/sorties au seuil de piste</a:t>
          </a:r>
        </a:p>
        <a:p>
          <a:pPr algn="l"/>
          <a:r>
            <a:rPr lang="fr-FR" sz="1400" b="0" dirty="0" smtClean="0"/>
            <a:t>-6 taxiway de jonction</a:t>
          </a:r>
        </a:p>
        <a:p>
          <a:pPr algn="l"/>
          <a:r>
            <a:rPr lang="fr-FR" sz="1400" b="0" dirty="0" smtClean="0"/>
            <a:t>-1 </a:t>
          </a:r>
          <a:r>
            <a:rPr lang="fr-FR" sz="1400" b="0" dirty="0" err="1" smtClean="0"/>
            <a:t>tax</a:t>
          </a:r>
          <a:r>
            <a:rPr lang="fr-FR" sz="1400" b="0" dirty="0" smtClean="0"/>
            <a:t> // parkings et autres spéciaux</a:t>
          </a:r>
        </a:p>
        <a:p>
          <a:pPr algn="l"/>
          <a:r>
            <a:rPr lang="fr-FR" sz="1400" b="1" dirty="0" smtClean="0">
              <a:solidFill>
                <a:schemeClr val="tx1"/>
              </a:solidFill>
            </a:rPr>
            <a:t> </a:t>
          </a:r>
        </a:p>
        <a:p>
          <a:pPr algn="l"/>
          <a:endParaRPr lang="fr-FR" sz="1400" b="0" dirty="0" smtClean="0"/>
        </a:p>
        <a:p>
          <a:pPr algn="l"/>
          <a:r>
            <a:rPr lang="fr-FR" sz="1400" b="0" dirty="0" smtClean="0"/>
            <a:t> </a:t>
          </a:r>
          <a:endParaRPr lang="fr-FR" sz="1400" b="0" dirty="0"/>
        </a:p>
      </dgm:t>
    </dgm:pt>
    <dgm:pt modelId="{DFE78FB2-0F38-4161-87CE-99BEF395215B}" type="parTrans" cxnId="{7323A32D-407A-4397-99E5-6D88A79C7355}">
      <dgm:prSet/>
      <dgm:spPr/>
      <dgm:t>
        <a:bodyPr/>
        <a:lstStyle/>
        <a:p>
          <a:endParaRPr lang="fr-FR"/>
        </a:p>
      </dgm:t>
    </dgm:pt>
    <dgm:pt modelId="{3656EC3A-A094-4F13-B428-FB64A718A98A}" type="sibTrans" cxnId="{7323A32D-407A-4397-99E5-6D88A79C7355}">
      <dgm:prSet/>
      <dgm:spPr/>
      <dgm:t>
        <a:bodyPr/>
        <a:lstStyle/>
        <a:p>
          <a:endParaRPr lang="fr-FR"/>
        </a:p>
      </dgm:t>
    </dgm:pt>
    <dgm:pt modelId="{464822F8-6D23-447F-ACFB-52528CA3A39C}">
      <dgm:prSet phldrT="[Texte]" custT="1"/>
      <dgm:spPr/>
      <dgm:t>
        <a:bodyPr/>
        <a:lstStyle/>
        <a:p>
          <a:pPr algn="l"/>
          <a:r>
            <a:rPr lang="fr-FR" sz="1600" dirty="0" smtClean="0">
              <a:solidFill>
                <a:srgbClr val="FFFFFF"/>
              </a:solidFill>
            </a:rPr>
            <a:t>Parkings avions de 79 postes dont 22 gros porteurs</a:t>
          </a:r>
        </a:p>
        <a:p>
          <a:pPr algn="l"/>
          <a:endParaRPr lang="fr-FR" sz="1600" dirty="0" smtClean="0">
            <a:solidFill>
              <a:srgbClr val="FFFFFF"/>
            </a:solidFill>
          </a:endParaRPr>
        </a:p>
        <a:p>
          <a:pPr algn="l"/>
          <a:r>
            <a:rPr lang="fr-FR" sz="1600" dirty="0" smtClean="0">
              <a:solidFill>
                <a:srgbClr val="FFFFFF"/>
              </a:solidFill>
            </a:rPr>
            <a:t>-</a:t>
          </a:r>
          <a:r>
            <a:rPr lang="fr-FR" sz="1600" b="1" dirty="0" smtClean="0">
              <a:solidFill>
                <a:schemeClr val="tx1"/>
              </a:solidFill>
            </a:rPr>
            <a:t>260 000 m2</a:t>
          </a:r>
        </a:p>
        <a:p>
          <a:pPr algn="l"/>
          <a:r>
            <a:rPr lang="fr-FR" sz="1600" b="1" dirty="0" smtClean="0">
              <a:solidFill>
                <a:schemeClr val="tx1"/>
              </a:solidFill>
            </a:rPr>
            <a:t> </a:t>
          </a:r>
          <a:endParaRPr lang="fr-FR" sz="1600" b="1" dirty="0">
            <a:solidFill>
              <a:schemeClr val="tx1"/>
            </a:solidFill>
          </a:endParaRPr>
        </a:p>
      </dgm:t>
    </dgm:pt>
    <dgm:pt modelId="{B02542B7-D888-4767-B7F0-DACA4BAABE76}" type="parTrans" cxnId="{5F3FA779-D3B8-4AE9-A8B8-984B7D4CC925}">
      <dgm:prSet/>
      <dgm:spPr/>
      <dgm:t>
        <a:bodyPr/>
        <a:lstStyle/>
        <a:p>
          <a:endParaRPr lang="fr-FR"/>
        </a:p>
      </dgm:t>
    </dgm:pt>
    <dgm:pt modelId="{CBBFAF7F-0D18-4A7D-8EC6-A9385EF14BAA}" type="sibTrans" cxnId="{5F3FA779-D3B8-4AE9-A8B8-984B7D4CC925}">
      <dgm:prSet/>
      <dgm:spPr/>
      <dgm:t>
        <a:bodyPr/>
        <a:lstStyle/>
        <a:p>
          <a:endParaRPr lang="fr-FR"/>
        </a:p>
      </dgm:t>
    </dgm:pt>
    <dgm:pt modelId="{56C4FF81-1A94-4F8B-9828-7B42BF8885C5}" type="pres">
      <dgm:prSet presAssocID="{BBC57DD8-CC33-4687-A223-2ABBC068EC2B}" presName="Name0" presStyleCnt="0">
        <dgm:presLayoutVars>
          <dgm:dir/>
          <dgm:resizeHandles val="exact"/>
        </dgm:presLayoutVars>
      </dgm:prSet>
      <dgm:spPr/>
    </dgm:pt>
    <dgm:pt modelId="{AEB92F0D-762F-42CE-895D-63D632DB5D6B}" type="pres">
      <dgm:prSet presAssocID="{BBC57DD8-CC33-4687-A223-2ABBC068EC2B}" presName="bkgdShp" presStyleLbl="alignAccFollowNode1" presStyleIdx="0" presStyleCnt="1" custLinFactNeighborX="388" custLinFactNeighborY="-2661"/>
      <dgm:spPr/>
    </dgm:pt>
    <dgm:pt modelId="{0C32E778-ADE8-4BFA-9AB1-31B995E2F3B9}" type="pres">
      <dgm:prSet presAssocID="{BBC57DD8-CC33-4687-A223-2ABBC068EC2B}" presName="linComp" presStyleCnt="0"/>
      <dgm:spPr/>
    </dgm:pt>
    <dgm:pt modelId="{0877B0D5-EF90-42D6-9642-9FF219412E75}" type="pres">
      <dgm:prSet presAssocID="{0131A17A-7243-4F8E-893A-3552BB85EEBE}" presName="compNode" presStyleCnt="0"/>
      <dgm:spPr/>
    </dgm:pt>
    <dgm:pt modelId="{103EB38A-D7BC-4595-A245-8A54D30596C9}" type="pres">
      <dgm:prSet presAssocID="{0131A17A-7243-4F8E-893A-3552BB85EEBE}" presName="node" presStyleLbl="node1" presStyleIdx="0" presStyleCnt="3" custScaleX="245090" custScaleY="108485" custLinFactNeighborX="-19073" custLinFactNeighborY="-236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D1F12E2-2586-4764-A387-7E510ABFFE14}" type="pres">
      <dgm:prSet presAssocID="{0131A17A-7243-4F8E-893A-3552BB85EEBE}" presName="invisiNode" presStyleLbl="node1" presStyleIdx="0" presStyleCnt="3"/>
      <dgm:spPr/>
    </dgm:pt>
    <dgm:pt modelId="{F5DAB842-88B0-4BC4-923D-7237B6626B99}" type="pres">
      <dgm:prSet presAssocID="{0131A17A-7243-4F8E-893A-3552BB85EEBE}" presName="imagNode" presStyleLbl="fgImgPlace1" presStyleIdx="0" presStyleCnt="3" custScaleX="257428" custScaleY="100275" custLinFactNeighborX="-19121" custLinFactNeighborY="-4591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840972D5-F46C-43EA-B72F-D72A0A46AC0D}" type="pres">
      <dgm:prSet presAssocID="{1B69D61E-EA86-490E-B829-376E45D56785}" presName="sibTrans" presStyleLbl="sibTrans2D1" presStyleIdx="0" presStyleCnt="0"/>
      <dgm:spPr/>
      <dgm:t>
        <a:bodyPr/>
        <a:lstStyle/>
        <a:p>
          <a:endParaRPr lang="fr-FR"/>
        </a:p>
      </dgm:t>
    </dgm:pt>
    <dgm:pt modelId="{7C2089EC-18C8-4DBD-BDD9-C48631C95D2F}" type="pres">
      <dgm:prSet presAssocID="{6D2566D3-D5B5-4D3C-82D0-2CABAF215A79}" presName="compNode" presStyleCnt="0"/>
      <dgm:spPr/>
    </dgm:pt>
    <dgm:pt modelId="{88DF7075-FB6F-477F-AA44-C5ADAC9E0AC3}" type="pres">
      <dgm:prSet presAssocID="{6D2566D3-D5B5-4D3C-82D0-2CABAF215A79}" presName="node" presStyleLbl="node1" presStyleIdx="1" presStyleCnt="3" custScaleX="268009" custScaleY="107067" custLinFactNeighborX="702" custLinFactNeighborY="-489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94D4A3E-A877-48BA-B7FA-9DBC02792446}" type="pres">
      <dgm:prSet presAssocID="{6D2566D3-D5B5-4D3C-82D0-2CABAF215A79}" presName="invisiNode" presStyleLbl="node1" presStyleIdx="1" presStyleCnt="3"/>
      <dgm:spPr/>
    </dgm:pt>
    <dgm:pt modelId="{FC865BD5-3348-43A2-9804-D5004C138C11}" type="pres">
      <dgm:prSet presAssocID="{6D2566D3-D5B5-4D3C-82D0-2CABAF215A79}" presName="imagNode" presStyleLbl="fgImgPlace1" presStyleIdx="1" presStyleCnt="3" custScaleX="261042" custLinFactNeighborX="-8026" custLinFactNeighborY="-6054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40A735E6-8C07-4D39-BE29-5EA523ABD494}" type="pres">
      <dgm:prSet presAssocID="{3656EC3A-A094-4F13-B428-FB64A718A98A}" presName="sibTrans" presStyleLbl="sibTrans2D1" presStyleIdx="0" presStyleCnt="0"/>
      <dgm:spPr/>
      <dgm:t>
        <a:bodyPr/>
        <a:lstStyle/>
        <a:p>
          <a:endParaRPr lang="fr-FR"/>
        </a:p>
      </dgm:t>
    </dgm:pt>
    <dgm:pt modelId="{DFC5AF4E-DCBD-4A5B-BB85-E48D3BF2E1A9}" type="pres">
      <dgm:prSet presAssocID="{464822F8-6D23-447F-ACFB-52528CA3A39C}" presName="compNode" presStyleCnt="0"/>
      <dgm:spPr/>
    </dgm:pt>
    <dgm:pt modelId="{07275A65-C56F-46B7-89F5-17CE5C97E8D3}" type="pres">
      <dgm:prSet presAssocID="{464822F8-6D23-447F-ACFB-52528CA3A39C}" presName="node" presStyleLbl="node1" presStyleIdx="2" presStyleCnt="3" custScaleX="260248" custScaleY="111800" custLinFactNeighborX="-2768" custLinFactNeighborY="-134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7FD8001-BBB0-489D-B8E2-CCF09E45DA85}" type="pres">
      <dgm:prSet presAssocID="{464822F8-6D23-447F-ACFB-52528CA3A39C}" presName="invisiNode" presStyleLbl="node1" presStyleIdx="2" presStyleCnt="3"/>
      <dgm:spPr/>
    </dgm:pt>
    <dgm:pt modelId="{BBC4C3AA-98A3-455D-9DF8-1737C8F939CA}" type="pres">
      <dgm:prSet presAssocID="{464822F8-6D23-447F-ACFB-52528CA3A39C}" presName="imagNode" presStyleLbl="fgImgPlace1" presStyleIdx="2" presStyleCnt="3" custScaleX="247454" custLinFactNeighborX="-3836" custLinFactNeighborY="-4082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1ECB7560-CDCF-400E-992C-629494D11DD1}" type="presOf" srcId="{3656EC3A-A094-4F13-B428-FB64A718A98A}" destId="{40A735E6-8C07-4D39-BE29-5EA523ABD494}" srcOrd="0" destOrd="0" presId="urn:microsoft.com/office/officeart/2005/8/layout/pList2#1"/>
    <dgm:cxn modelId="{D4A4A9E1-D314-4F68-A8DE-41F1BD846058}" srcId="{BBC57DD8-CC33-4687-A223-2ABBC068EC2B}" destId="{0131A17A-7243-4F8E-893A-3552BB85EEBE}" srcOrd="0" destOrd="0" parTransId="{8AC8CE69-0052-4B43-BDE5-1BB678FA17BE}" sibTransId="{1B69D61E-EA86-490E-B829-376E45D56785}"/>
    <dgm:cxn modelId="{CB4BE69F-BBAB-47D1-8E26-BA4BE96F5C1C}" type="presOf" srcId="{BBC57DD8-CC33-4687-A223-2ABBC068EC2B}" destId="{56C4FF81-1A94-4F8B-9828-7B42BF8885C5}" srcOrd="0" destOrd="0" presId="urn:microsoft.com/office/officeart/2005/8/layout/pList2#1"/>
    <dgm:cxn modelId="{5F3FA779-D3B8-4AE9-A8B8-984B7D4CC925}" srcId="{BBC57DD8-CC33-4687-A223-2ABBC068EC2B}" destId="{464822F8-6D23-447F-ACFB-52528CA3A39C}" srcOrd="2" destOrd="0" parTransId="{B02542B7-D888-4767-B7F0-DACA4BAABE76}" sibTransId="{CBBFAF7F-0D18-4A7D-8EC6-A9385EF14BAA}"/>
    <dgm:cxn modelId="{6FDE8137-2097-4AAD-BC73-ADFE9C3E6034}" type="presOf" srcId="{464822F8-6D23-447F-ACFB-52528CA3A39C}" destId="{07275A65-C56F-46B7-89F5-17CE5C97E8D3}" srcOrd="0" destOrd="0" presId="urn:microsoft.com/office/officeart/2005/8/layout/pList2#1"/>
    <dgm:cxn modelId="{7323A32D-407A-4397-99E5-6D88A79C7355}" srcId="{BBC57DD8-CC33-4687-A223-2ABBC068EC2B}" destId="{6D2566D3-D5B5-4D3C-82D0-2CABAF215A79}" srcOrd="1" destOrd="0" parTransId="{DFE78FB2-0F38-4161-87CE-99BEF395215B}" sibTransId="{3656EC3A-A094-4F13-B428-FB64A718A98A}"/>
    <dgm:cxn modelId="{ECA8605F-E3C0-4DE7-BD2B-21FF2D66B045}" type="presOf" srcId="{6D2566D3-D5B5-4D3C-82D0-2CABAF215A79}" destId="{88DF7075-FB6F-477F-AA44-C5ADAC9E0AC3}" srcOrd="0" destOrd="0" presId="urn:microsoft.com/office/officeart/2005/8/layout/pList2#1"/>
    <dgm:cxn modelId="{DE49654C-37FB-4EEF-9929-038603266726}" type="presOf" srcId="{1B69D61E-EA86-490E-B829-376E45D56785}" destId="{840972D5-F46C-43EA-B72F-D72A0A46AC0D}" srcOrd="0" destOrd="0" presId="urn:microsoft.com/office/officeart/2005/8/layout/pList2#1"/>
    <dgm:cxn modelId="{C28464E6-C001-4AB8-A32E-A90053DF598F}" type="presOf" srcId="{0131A17A-7243-4F8E-893A-3552BB85EEBE}" destId="{103EB38A-D7BC-4595-A245-8A54D30596C9}" srcOrd="0" destOrd="0" presId="urn:microsoft.com/office/officeart/2005/8/layout/pList2#1"/>
    <dgm:cxn modelId="{1A351C42-B374-46FC-941E-29731654E120}" type="presParOf" srcId="{56C4FF81-1A94-4F8B-9828-7B42BF8885C5}" destId="{AEB92F0D-762F-42CE-895D-63D632DB5D6B}" srcOrd="0" destOrd="0" presId="urn:microsoft.com/office/officeart/2005/8/layout/pList2#1"/>
    <dgm:cxn modelId="{2CD7FDEB-794C-4A45-9A74-36F4A9B817B2}" type="presParOf" srcId="{56C4FF81-1A94-4F8B-9828-7B42BF8885C5}" destId="{0C32E778-ADE8-4BFA-9AB1-31B995E2F3B9}" srcOrd="1" destOrd="0" presId="urn:microsoft.com/office/officeart/2005/8/layout/pList2#1"/>
    <dgm:cxn modelId="{C5461022-A6DD-46F7-9BB7-B0506A61F7C6}" type="presParOf" srcId="{0C32E778-ADE8-4BFA-9AB1-31B995E2F3B9}" destId="{0877B0D5-EF90-42D6-9642-9FF219412E75}" srcOrd="0" destOrd="0" presId="urn:microsoft.com/office/officeart/2005/8/layout/pList2#1"/>
    <dgm:cxn modelId="{FF5B407C-B8C3-4EDF-8F12-6FBAA239EC99}" type="presParOf" srcId="{0877B0D5-EF90-42D6-9642-9FF219412E75}" destId="{103EB38A-D7BC-4595-A245-8A54D30596C9}" srcOrd="0" destOrd="0" presId="urn:microsoft.com/office/officeart/2005/8/layout/pList2#1"/>
    <dgm:cxn modelId="{6FEE47E2-4A6F-4A24-B3C2-529E784C318C}" type="presParOf" srcId="{0877B0D5-EF90-42D6-9642-9FF219412E75}" destId="{5D1F12E2-2586-4764-A387-7E510ABFFE14}" srcOrd="1" destOrd="0" presId="urn:microsoft.com/office/officeart/2005/8/layout/pList2#1"/>
    <dgm:cxn modelId="{C629F8A0-105C-4B45-A40F-6C2A5F7335D5}" type="presParOf" srcId="{0877B0D5-EF90-42D6-9642-9FF219412E75}" destId="{F5DAB842-88B0-4BC4-923D-7237B6626B99}" srcOrd="2" destOrd="0" presId="urn:microsoft.com/office/officeart/2005/8/layout/pList2#1"/>
    <dgm:cxn modelId="{66EA1A9F-D021-4A9F-A3AF-5272CB1D3577}" type="presParOf" srcId="{0C32E778-ADE8-4BFA-9AB1-31B995E2F3B9}" destId="{840972D5-F46C-43EA-B72F-D72A0A46AC0D}" srcOrd="1" destOrd="0" presId="urn:microsoft.com/office/officeart/2005/8/layout/pList2#1"/>
    <dgm:cxn modelId="{0D2E2EFE-A8D9-4D88-B5DA-059208AD8429}" type="presParOf" srcId="{0C32E778-ADE8-4BFA-9AB1-31B995E2F3B9}" destId="{7C2089EC-18C8-4DBD-BDD9-C48631C95D2F}" srcOrd="2" destOrd="0" presId="urn:microsoft.com/office/officeart/2005/8/layout/pList2#1"/>
    <dgm:cxn modelId="{AAA765E3-F084-47FE-9665-4EE86FCEC3CC}" type="presParOf" srcId="{7C2089EC-18C8-4DBD-BDD9-C48631C95D2F}" destId="{88DF7075-FB6F-477F-AA44-C5ADAC9E0AC3}" srcOrd="0" destOrd="0" presId="urn:microsoft.com/office/officeart/2005/8/layout/pList2#1"/>
    <dgm:cxn modelId="{B20EA63C-6A04-4CD4-928C-DEFB44C91936}" type="presParOf" srcId="{7C2089EC-18C8-4DBD-BDD9-C48631C95D2F}" destId="{C94D4A3E-A877-48BA-B7FA-9DBC02792446}" srcOrd="1" destOrd="0" presId="urn:microsoft.com/office/officeart/2005/8/layout/pList2#1"/>
    <dgm:cxn modelId="{26772D87-A5BA-4791-A8C0-651E03AA0C76}" type="presParOf" srcId="{7C2089EC-18C8-4DBD-BDD9-C48631C95D2F}" destId="{FC865BD5-3348-43A2-9804-D5004C138C11}" srcOrd="2" destOrd="0" presId="urn:microsoft.com/office/officeart/2005/8/layout/pList2#1"/>
    <dgm:cxn modelId="{A02B7DD2-C5C5-41F8-B3FA-EF566616CD4C}" type="presParOf" srcId="{0C32E778-ADE8-4BFA-9AB1-31B995E2F3B9}" destId="{40A735E6-8C07-4D39-BE29-5EA523ABD494}" srcOrd="3" destOrd="0" presId="urn:microsoft.com/office/officeart/2005/8/layout/pList2#1"/>
    <dgm:cxn modelId="{06B75C74-E6B5-4E2C-B773-C6DC6A9AD7D6}" type="presParOf" srcId="{0C32E778-ADE8-4BFA-9AB1-31B995E2F3B9}" destId="{DFC5AF4E-DCBD-4A5B-BB85-E48D3BF2E1A9}" srcOrd="4" destOrd="0" presId="urn:microsoft.com/office/officeart/2005/8/layout/pList2#1"/>
    <dgm:cxn modelId="{D8F9183D-9DF2-4329-B361-E59FDEE95BB6}" type="presParOf" srcId="{DFC5AF4E-DCBD-4A5B-BB85-E48D3BF2E1A9}" destId="{07275A65-C56F-46B7-89F5-17CE5C97E8D3}" srcOrd="0" destOrd="0" presId="urn:microsoft.com/office/officeart/2005/8/layout/pList2#1"/>
    <dgm:cxn modelId="{07F62F50-2CC5-4090-9FC4-4A905D14C390}" type="presParOf" srcId="{DFC5AF4E-DCBD-4A5B-BB85-E48D3BF2E1A9}" destId="{F7FD8001-BBB0-489D-B8E2-CCF09E45DA85}" srcOrd="1" destOrd="0" presId="urn:microsoft.com/office/officeart/2005/8/layout/pList2#1"/>
    <dgm:cxn modelId="{1B59D808-36EF-4EE5-8646-5ED2CC82CFA2}" type="presParOf" srcId="{DFC5AF4E-DCBD-4A5B-BB85-E48D3BF2E1A9}" destId="{BBC4C3AA-98A3-455D-9DF8-1737C8F939CA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9DEE03D-E17B-BF4B-A857-89CE567AE54E}" type="doc">
      <dgm:prSet loTypeId="urn:microsoft.com/office/officeart/2008/layout/BendingPictureBlock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7253BC4-3593-0A42-9CD4-F5DCE03E71BC}">
      <dgm:prSet phldrT="[Texte]" custT="1"/>
      <dgm:spPr/>
      <dgm:t>
        <a:bodyPr/>
        <a:lstStyle/>
        <a:p>
          <a:r>
            <a:rPr lang="fr-FR" sz="1400" dirty="0" smtClean="0"/>
            <a:t>Parkings avion : APRON</a:t>
          </a:r>
          <a:endParaRPr lang="fr-FR" sz="1400" dirty="0"/>
        </a:p>
      </dgm:t>
    </dgm:pt>
    <dgm:pt modelId="{339DAD3A-A6BD-C744-81C8-96018BBBDD6A}" type="parTrans" cxnId="{4FF5014C-93CB-0A47-A699-D33312B9AC1F}">
      <dgm:prSet/>
      <dgm:spPr/>
      <dgm:t>
        <a:bodyPr/>
        <a:lstStyle/>
        <a:p>
          <a:endParaRPr lang="fr-FR"/>
        </a:p>
      </dgm:t>
    </dgm:pt>
    <dgm:pt modelId="{D773206A-22A8-5449-83F4-3A5D5EAFA5CB}" type="sibTrans" cxnId="{4FF5014C-93CB-0A47-A699-D33312B9AC1F}">
      <dgm:prSet/>
      <dgm:spPr/>
      <dgm:t>
        <a:bodyPr/>
        <a:lstStyle/>
        <a:p>
          <a:endParaRPr lang="fr-FR"/>
        </a:p>
      </dgm:t>
    </dgm:pt>
    <dgm:pt modelId="{9C95CABA-9A45-1A44-B321-177C06E858AC}" type="pres">
      <dgm:prSet presAssocID="{69DEE03D-E17B-BF4B-A857-89CE567AE54E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fr-FR"/>
        </a:p>
      </dgm:t>
    </dgm:pt>
    <dgm:pt modelId="{96764744-C69B-EE4A-B6B4-FA3A00371513}" type="pres">
      <dgm:prSet presAssocID="{27253BC4-3593-0A42-9CD4-F5DCE03E71BC}" presName="composite" presStyleCnt="0"/>
      <dgm:spPr/>
    </dgm:pt>
    <dgm:pt modelId="{94495F60-29B0-8348-9A13-9B59F356E1C0}" type="pres">
      <dgm:prSet presAssocID="{27253BC4-3593-0A42-9CD4-F5DCE03E71BC}" presName="rect1" presStyleLbl="bgImgPlace1" presStyleIdx="0" presStyleCnt="1" custScaleX="108929" custLinFactNeighborX="-36095" custLinFactNeighborY="-8761"/>
      <dgm:spPr>
        <a:blipFill rotWithShape="1">
          <a:blip xmlns:r="http://schemas.openxmlformats.org/officeDocument/2006/relationships" r:embed="rId1"/>
          <a:stretch>
            <a:fillRect/>
          </a:stretch>
        </a:blipFill>
        <a:ln>
          <a:solidFill>
            <a:schemeClr val="accent1"/>
          </a:solidFill>
        </a:ln>
      </dgm:spPr>
      <dgm:t>
        <a:bodyPr/>
        <a:lstStyle/>
        <a:p>
          <a:endParaRPr lang="fr-FR"/>
        </a:p>
      </dgm:t>
    </dgm:pt>
    <dgm:pt modelId="{960C2BEA-EA09-6246-A945-24B385D1699C}" type="pres">
      <dgm:prSet presAssocID="{27253BC4-3593-0A42-9CD4-F5DCE03E71BC}" presName="rect2" presStyleLbl="node1" presStyleIdx="0" presStyleCnt="1" custAng="10800000" custFlipVert="1" custScaleX="117258" custScaleY="34810" custLinFactY="-11429" custLinFactNeighborX="2530" custLinFactNeighborY="-1000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92E397F-6910-40EC-83DE-53B923CF0E63}" type="presOf" srcId="{27253BC4-3593-0A42-9CD4-F5DCE03E71BC}" destId="{960C2BEA-EA09-6246-A945-24B385D1699C}" srcOrd="0" destOrd="0" presId="urn:microsoft.com/office/officeart/2008/layout/BendingPictureBlocks"/>
    <dgm:cxn modelId="{4FF5014C-93CB-0A47-A699-D33312B9AC1F}" srcId="{69DEE03D-E17B-BF4B-A857-89CE567AE54E}" destId="{27253BC4-3593-0A42-9CD4-F5DCE03E71BC}" srcOrd="0" destOrd="0" parTransId="{339DAD3A-A6BD-C744-81C8-96018BBBDD6A}" sibTransId="{D773206A-22A8-5449-83F4-3A5D5EAFA5CB}"/>
    <dgm:cxn modelId="{ACABCA53-8DBF-400B-9A88-4C5C74359BD9}" type="presOf" srcId="{69DEE03D-E17B-BF4B-A857-89CE567AE54E}" destId="{9C95CABA-9A45-1A44-B321-177C06E858AC}" srcOrd="0" destOrd="0" presId="urn:microsoft.com/office/officeart/2008/layout/BendingPictureBlocks"/>
    <dgm:cxn modelId="{C5558515-02CB-4667-8BFA-DC9D3FD8B559}" type="presParOf" srcId="{9C95CABA-9A45-1A44-B321-177C06E858AC}" destId="{96764744-C69B-EE4A-B6B4-FA3A00371513}" srcOrd="0" destOrd="0" presId="urn:microsoft.com/office/officeart/2008/layout/BendingPictureBlocks"/>
    <dgm:cxn modelId="{35DCD8FB-0F47-485E-914D-63A87B9DF54B}" type="presParOf" srcId="{96764744-C69B-EE4A-B6B4-FA3A00371513}" destId="{94495F60-29B0-8348-9A13-9B59F356E1C0}" srcOrd="0" destOrd="0" presId="urn:microsoft.com/office/officeart/2008/layout/BendingPictureBlocks"/>
    <dgm:cxn modelId="{8999003B-0C64-45B9-84AC-8414F1568484}" type="presParOf" srcId="{96764744-C69B-EE4A-B6B4-FA3A00371513}" destId="{960C2BEA-EA09-6246-A945-24B385D1699C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BC57DD8-CC33-4687-A223-2ABBC068EC2B}" type="doc">
      <dgm:prSet loTypeId="urn:microsoft.com/office/officeart/2005/8/layout/pList2#2" loCatId="list" qsTypeId="urn:microsoft.com/office/officeart/2005/8/quickstyle/simple1" qsCatId="simple" csTypeId="urn:microsoft.com/office/officeart/2005/8/colors/accent1_2" csCatId="accent1" phldr="1"/>
      <dgm:spPr/>
    </dgm:pt>
    <dgm:pt modelId="{0131A17A-7243-4F8E-893A-3552BB85EEBE}">
      <dgm:prSet phldrT="[Texte]" custT="1"/>
      <dgm:spPr/>
      <dgm:t>
        <a:bodyPr/>
        <a:lstStyle/>
        <a:p>
          <a:r>
            <a:rPr lang="fr-FR" sz="1200" dirty="0" smtClean="0"/>
            <a:t>-</a:t>
          </a:r>
          <a:r>
            <a:rPr lang="fr-FR" sz="1400" dirty="0" smtClean="0"/>
            <a:t>11 km de routes de services</a:t>
          </a:r>
        </a:p>
        <a:p>
          <a:r>
            <a:rPr lang="fr-FR" sz="1400" dirty="0" smtClean="0"/>
            <a:t>- 12 km de routes d’accès</a:t>
          </a:r>
        </a:p>
        <a:p>
          <a:r>
            <a:rPr lang="fr-FR" sz="1400" dirty="0" smtClean="0"/>
            <a:t>- 27 km de routes de sécurité (périphériques) </a:t>
          </a:r>
          <a:endParaRPr lang="fr-FR" sz="1200" b="1" dirty="0" smtClean="0"/>
        </a:p>
        <a:p>
          <a:r>
            <a:rPr lang="fr-FR" sz="1200" b="1" dirty="0" smtClean="0">
              <a:solidFill>
                <a:srgbClr val="002060"/>
              </a:solidFill>
            </a:rPr>
            <a:t>Total : 50 km</a:t>
          </a:r>
        </a:p>
        <a:p>
          <a:endParaRPr lang="fr-FR" sz="1200" dirty="0" smtClean="0"/>
        </a:p>
        <a:p>
          <a:endParaRPr lang="fr-FR" sz="1200" dirty="0"/>
        </a:p>
      </dgm:t>
    </dgm:pt>
    <dgm:pt modelId="{8AC8CE69-0052-4B43-BDE5-1BB678FA17BE}" type="parTrans" cxnId="{D4A4A9E1-D314-4F68-A8DE-41F1BD846058}">
      <dgm:prSet/>
      <dgm:spPr/>
      <dgm:t>
        <a:bodyPr/>
        <a:lstStyle/>
        <a:p>
          <a:endParaRPr lang="fr-FR"/>
        </a:p>
      </dgm:t>
    </dgm:pt>
    <dgm:pt modelId="{1B69D61E-EA86-490E-B829-376E45D56785}" type="sibTrans" cxnId="{D4A4A9E1-D314-4F68-A8DE-41F1BD846058}">
      <dgm:prSet/>
      <dgm:spPr/>
      <dgm:t>
        <a:bodyPr/>
        <a:lstStyle/>
        <a:p>
          <a:endParaRPr lang="fr-FR"/>
        </a:p>
      </dgm:t>
    </dgm:pt>
    <dgm:pt modelId="{6D2566D3-D5B5-4D3C-82D0-2CABAF215A79}">
      <dgm:prSet phldrT="[Texte]" custT="1"/>
      <dgm:spPr/>
      <dgm:t>
        <a:bodyPr/>
        <a:lstStyle/>
        <a:p>
          <a:r>
            <a:rPr lang="fr-FR" sz="1200" dirty="0" smtClean="0"/>
            <a:t>Parkings de Voitures </a:t>
          </a:r>
        </a:p>
        <a:p>
          <a:r>
            <a:rPr lang="fr-FR" sz="1200" dirty="0" smtClean="0"/>
            <a:t>Le parking commercial de surface 90 400m2 et une capacité de 830 postes (700 </a:t>
          </a:r>
          <a:r>
            <a:rPr lang="fr-FR" sz="1200" dirty="0" err="1" smtClean="0"/>
            <a:t>vp</a:t>
          </a:r>
          <a:r>
            <a:rPr lang="fr-FR" sz="1200" dirty="0" smtClean="0"/>
            <a:t>, 70 B, 60 taxis)</a:t>
          </a:r>
        </a:p>
        <a:p>
          <a:r>
            <a:rPr lang="fr-FR" sz="1200" dirty="0" smtClean="0"/>
            <a:t>Chaque bâtiment a un parking réservé au personnel.</a:t>
          </a:r>
        </a:p>
        <a:p>
          <a:endParaRPr lang="fr-FR" sz="1200" dirty="0" smtClean="0"/>
        </a:p>
        <a:p>
          <a:endParaRPr lang="fr-FR" sz="1200" dirty="0" smtClean="0"/>
        </a:p>
        <a:p>
          <a:endParaRPr lang="fr-FR" sz="1200" dirty="0"/>
        </a:p>
      </dgm:t>
    </dgm:pt>
    <dgm:pt modelId="{DFE78FB2-0F38-4161-87CE-99BEF395215B}" type="parTrans" cxnId="{7323A32D-407A-4397-99E5-6D88A79C7355}">
      <dgm:prSet/>
      <dgm:spPr/>
      <dgm:t>
        <a:bodyPr/>
        <a:lstStyle/>
        <a:p>
          <a:endParaRPr lang="fr-FR"/>
        </a:p>
      </dgm:t>
    </dgm:pt>
    <dgm:pt modelId="{3656EC3A-A094-4F13-B428-FB64A718A98A}" type="sibTrans" cxnId="{7323A32D-407A-4397-99E5-6D88A79C7355}">
      <dgm:prSet/>
      <dgm:spPr/>
      <dgm:t>
        <a:bodyPr/>
        <a:lstStyle/>
        <a:p>
          <a:endParaRPr lang="fr-FR"/>
        </a:p>
      </dgm:t>
    </dgm:pt>
    <dgm:pt modelId="{464822F8-6D23-447F-ACFB-52528CA3A39C}">
      <dgm:prSet phldrT="[Texte]" custT="1"/>
      <dgm:spPr/>
      <dgm:t>
        <a:bodyPr/>
        <a:lstStyle/>
        <a:p>
          <a:r>
            <a:rPr lang="fr-FR" sz="1600" dirty="0" smtClean="0"/>
            <a:t>Clôture de sécurité de 13 km selon spécifications OACI.</a:t>
          </a:r>
        </a:p>
        <a:p>
          <a:endParaRPr lang="fr-FR" sz="2300" dirty="0" smtClean="0"/>
        </a:p>
      </dgm:t>
    </dgm:pt>
    <dgm:pt modelId="{B02542B7-D888-4767-B7F0-DACA4BAABE76}" type="parTrans" cxnId="{5F3FA779-D3B8-4AE9-A8B8-984B7D4CC925}">
      <dgm:prSet/>
      <dgm:spPr/>
      <dgm:t>
        <a:bodyPr/>
        <a:lstStyle/>
        <a:p>
          <a:endParaRPr lang="fr-FR"/>
        </a:p>
      </dgm:t>
    </dgm:pt>
    <dgm:pt modelId="{CBBFAF7F-0D18-4A7D-8EC6-A9385EF14BAA}" type="sibTrans" cxnId="{5F3FA779-D3B8-4AE9-A8B8-984B7D4CC925}">
      <dgm:prSet/>
      <dgm:spPr/>
      <dgm:t>
        <a:bodyPr/>
        <a:lstStyle/>
        <a:p>
          <a:endParaRPr lang="fr-FR"/>
        </a:p>
      </dgm:t>
    </dgm:pt>
    <dgm:pt modelId="{56C4FF81-1A94-4F8B-9828-7B42BF8885C5}" type="pres">
      <dgm:prSet presAssocID="{BBC57DD8-CC33-4687-A223-2ABBC068EC2B}" presName="Name0" presStyleCnt="0">
        <dgm:presLayoutVars>
          <dgm:dir/>
          <dgm:resizeHandles val="exact"/>
        </dgm:presLayoutVars>
      </dgm:prSet>
      <dgm:spPr/>
    </dgm:pt>
    <dgm:pt modelId="{AEB92F0D-762F-42CE-895D-63D632DB5D6B}" type="pres">
      <dgm:prSet presAssocID="{BBC57DD8-CC33-4687-A223-2ABBC068EC2B}" presName="bkgdShp" presStyleLbl="alignAccFollowNode1" presStyleIdx="0" presStyleCnt="1"/>
      <dgm:spPr/>
      <dgm:t>
        <a:bodyPr/>
        <a:lstStyle/>
        <a:p>
          <a:endParaRPr lang="fr-FR"/>
        </a:p>
      </dgm:t>
    </dgm:pt>
    <dgm:pt modelId="{0C32E778-ADE8-4BFA-9AB1-31B995E2F3B9}" type="pres">
      <dgm:prSet presAssocID="{BBC57DD8-CC33-4687-A223-2ABBC068EC2B}" presName="linComp" presStyleCnt="0"/>
      <dgm:spPr/>
    </dgm:pt>
    <dgm:pt modelId="{0877B0D5-EF90-42D6-9642-9FF219412E75}" type="pres">
      <dgm:prSet presAssocID="{0131A17A-7243-4F8E-893A-3552BB85EEBE}" presName="compNode" presStyleCnt="0"/>
      <dgm:spPr/>
    </dgm:pt>
    <dgm:pt modelId="{103EB38A-D7BC-4595-A245-8A54D30596C9}" type="pres">
      <dgm:prSet presAssocID="{0131A17A-7243-4F8E-893A-3552BB85EEBE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D1F12E2-2586-4764-A387-7E510ABFFE14}" type="pres">
      <dgm:prSet presAssocID="{0131A17A-7243-4F8E-893A-3552BB85EEBE}" presName="invisiNode" presStyleLbl="node1" presStyleIdx="0" presStyleCnt="3"/>
      <dgm:spPr/>
    </dgm:pt>
    <dgm:pt modelId="{F5DAB842-88B0-4BC4-923D-7237B6626B99}" type="pres">
      <dgm:prSet presAssocID="{0131A17A-7243-4F8E-893A-3552BB85EEBE}" presName="imagNode" presStyleLbl="fgImgPlace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840972D5-F46C-43EA-B72F-D72A0A46AC0D}" type="pres">
      <dgm:prSet presAssocID="{1B69D61E-EA86-490E-B829-376E45D56785}" presName="sibTrans" presStyleLbl="sibTrans2D1" presStyleIdx="0" presStyleCnt="0"/>
      <dgm:spPr/>
      <dgm:t>
        <a:bodyPr/>
        <a:lstStyle/>
        <a:p>
          <a:endParaRPr lang="fr-FR"/>
        </a:p>
      </dgm:t>
    </dgm:pt>
    <dgm:pt modelId="{7C2089EC-18C8-4DBD-BDD9-C48631C95D2F}" type="pres">
      <dgm:prSet presAssocID="{6D2566D3-D5B5-4D3C-82D0-2CABAF215A79}" presName="compNode" presStyleCnt="0"/>
      <dgm:spPr/>
    </dgm:pt>
    <dgm:pt modelId="{88DF7075-FB6F-477F-AA44-C5ADAC9E0AC3}" type="pres">
      <dgm:prSet presAssocID="{6D2566D3-D5B5-4D3C-82D0-2CABAF215A7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94D4A3E-A877-48BA-B7FA-9DBC02792446}" type="pres">
      <dgm:prSet presAssocID="{6D2566D3-D5B5-4D3C-82D0-2CABAF215A79}" presName="invisiNode" presStyleLbl="node1" presStyleIdx="1" presStyleCnt="3"/>
      <dgm:spPr/>
    </dgm:pt>
    <dgm:pt modelId="{FC865BD5-3348-43A2-9804-D5004C138C11}" type="pres">
      <dgm:prSet presAssocID="{6D2566D3-D5B5-4D3C-82D0-2CABAF215A79}" presName="imagNode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40A735E6-8C07-4D39-BE29-5EA523ABD494}" type="pres">
      <dgm:prSet presAssocID="{3656EC3A-A094-4F13-B428-FB64A718A98A}" presName="sibTrans" presStyleLbl="sibTrans2D1" presStyleIdx="0" presStyleCnt="0"/>
      <dgm:spPr/>
      <dgm:t>
        <a:bodyPr/>
        <a:lstStyle/>
        <a:p>
          <a:endParaRPr lang="fr-FR"/>
        </a:p>
      </dgm:t>
    </dgm:pt>
    <dgm:pt modelId="{DFC5AF4E-DCBD-4A5B-BB85-E48D3BF2E1A9}" type="pres">
      <dgm:prSet presAssocID="{464822F8-6D23-447F-ACFB-52528CA3A39C}" presName="compNode" presStyleCnt="0"/>
      <dgm:spPr/>
    </dgm:pt>
    <dgm:pt modelId="{07275A65-C56F-46B7-89F5-17CE5C97E8D3}" type="pres">
      <dgm:prSet presAssocID="{464822F8-6D23-447F-ACFB-52528CA3A39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7FD8001-BBB0-489D-B8E2-CCF09E45DA85}" type="pres">
      <dgm:prSet presAssocID="{464822F8-6D23-447F-ACFB-52528CA3A39C}" presName="invisiNode" presStyleLbl="node1" presStyleIdx="2" presStyleCnt="3"/>
      <dgm:spPr/>
    </dgm:pt>
    <dgm:pt modelId="{BBC4C3AA-98A3-455D-9DF8-1737C8F939CA}" type="pres">
      <dgm:prSet presAssocID="{464822F8-6D23-447F-ACFB-52528CA3A39C}" presName="imagNode" presStyleLbl="fgImgPlace1" presStyleIdx="2" presStyleCnt="3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F8A5B102-BFEC-466C-BFAD-F42863406706}" type="presOf" srcId="{0131A17A-7243-4F8E-893A-3552BB85EEBE}" destId="{103EB38A-D7BC-4595-A245-8A54D30596C9}" srcOrd="0" destOrd="0" presId="urn:microsoft.com/office/officeart/2005/8/layout/pList2#2"/>
    <dgm:cxn modelId="{D4A4A9E1-D314-4F68-A8DE-41F1BD846058}" srcId="{BBC57DD8-CC33-4687-A223-2ABBC068EC2B}" destId="{0131A17A-7243-4F8E-893A-3552BB85EEBE}" srcOrd="0" destOrd="0" parTransId="{8AC8CE69-0052-4B43-BDE5-1BB678FA17BE}" sibTransId="{1B69D61E-EA86-490E-B829-376E45D56785}"/>
    <dgm:cxn modelId="{5F3FA779-D3B8-4AE9-A8B8-984B7D4CC925}" srcId="{BBC57DD8-CC33-4687-A223-2ABBC068EC2B}" destId="{464822F8-6D23-447F-ACFB-52528CA3A39C}" srcOrd="2" destOrd="0" parTransId="{B02542B7-D888-4767-B7F0-DACA4BAABE76}" sibTransId="{CBBFAF7F-0D18-4A7D-8EC6-A9385EF14BAA}"/>
    <dgm:cxn modelId="{7323A32D-407A-4397-99E5-6D88A79C7355}" srcId="{BBC57DD8-CC33-4687-A223-2ABBC068EC2B}" destId="{6D2566D3-D5B5-4D3C-82D0-2CABAF215A79}" srcOrd="1" destOrd="0" parTransId="{DFE78FB2-0F38-4161-87CE-99BEF395215B}" sibTransId="{3656EC3A-A094-4F13-B428-FB64A718A98A}"/>
    <dgm:cxn modelId="{209B3B79-CADE-44A8-8A2D-790F9935835D}" type="presOf" srcId="{3656EC3A-A094-4F13-B428-FB64A718A98A}" destId="{40A735E6-8C07-4D39-BE29-5EA523ABD494}" srcOrd="0" destOrd="0" presId="urn:microsoft.com/office/officeart/2005/8/layout/pList2#2"/>
    <dgm:cxn modelId="{9566DC2C-890A-4081-BD4F-76826EE195B0}" type="presOf" srcId="{BBC57DD8-CC33-4687-A223-2ABBC068EC2B}" destId="{56C4FF81-1A94-4F8B-9828-7B42BF8885C5}" srcOrd="0" destOrd="0" presId="urn:microsoft.com/office/officeart/2005/8/layout/pList2#2"/>
    <dgm:cxn modelId="{8246DCCB-EED8-4A5C-B271-441A7CD07C50}" type="presOf" srcId="{6D2566D3-D5B5-4D3C-82D0-2CABAF215A79}" destId="{88DF7075-FB6F-477F-AA44-C5ADAC9E0AC3}" srcOrd="0" destOrd="0" presId="urn:microsoft.com/office/officeart/2005/8/layout/pList2#2"/>
    <dgm:cxn modelId="{02713531-8194-4FCE-B2FE-D931B595BCB5}" type="presOf" srcId="{1B69D61E-EA86-490E-B829-376E45D56785}" destId="{840972D5-F46C-43EA-B72F-D72A0A46AC0D}" srcOrd="0" destOrd="0" presId="urn:microsoft.com/office/officeart/2005/8/layout/pList2#2"/>
    <dgm:cxn modelId="{8B2FCDAC-D4A0-4FEA-9A66-DDE6383047AE}" type="presOf" srcId="{464822F8-6D23-447F-ACFB-52528CA3A39C}" destId="{07275A65-C56F-46B7-89F5-17CE5C97E8D3}" srcOrd="0" destOrd="0" presId="urn:microsoft.com/office/officeart/2005/8/layout/pList2#2"/>
    <dgm:cxn modelId="{5C825D33-08B3-45E4-9B5E-CB18B3EBCE67}" type="presParOf" srcId="{56C4FF81-1A94-4F8B-9828-7B42BF8885C5}" destId="{AEB92F0D-762F-42CE-895D-63D632DB5D6B}" srcOrd="0" destOrd="0" presId="urn:microsoft.com/office/officeart/2005/8/layout/pList2#2"/>
    <dgm:cxn modelId="{A5B2DB47-28E7-4671-898F-2C733546180F}" type="presParOf" srcId="{56C4FF81-1A94-4F8B-9828-7B42BF8885C5}" destId="{0C32E778-ADE8-4BFA-9AB1-31B995E2F3B9}" srcOrd="1" destOrd="0" presId="urn:microsoft.com/office/officeart/2005/8/layout/pList2#2"/>
    <dgm:cxn modelId="{9609A356-E892-42B2-B94F-DE9151F94C4F}" type="presParOf" srcId="{0C32E778-ADE8-4BFA-9AB1-31B995E2F3B9}" destId="{0877B0D5-EF90-42D6-9642-9FF219412E75}" srcOrd="0" destOrd="0" presId="urn:microsoft.com/office/officeart/2005/8/layout/pList2#2"/>
    <dgm:cxn modelId="{A2338211-B0B2-449E-9F5C-E7E2EC6A0B99}" type="presParOf" srcId="{0877B0D5-EF90-42D6-9642-9FF219412E75}" destId="{103EB38A-D7BC-4595-A245-8A54D30596C9}" srcOrd="0" destOrd="0" presId="urn:microsoft.com/office/officeart/2005/8/layout/pList2#2"/>
    <dgm:cxn modelId="{DB9282CE-C9CA-42D0-BAA6-4D7005E7C0EF}" type="presParOf" srcId="{0877B0D5-EF90-42D6-9642-9FF219412E75}" destId="{5D1F12E2-2586-4764-A387-7E510ABFFE14}" srcOrd="1" destOrd="0" presId="urn:microsoft.com/office/officeart/2005/8/layout/pList2#2"/>
    <dgm:cxn modelId="{90688AC2-2BE9-4BC2-8413-CE715E67E24E}" type="presParOf" srcId="{0877B0D5-EF90-42D6-9642-9FF219412E75}" destId="{F5DAB842-88B0-4BC4-923D-7237B6626B99}" srcOrd="2" destOrd="0" presId="urn:microsoft.com/office/officeart/2005/8/layout/pList2#2"/>
    <dgm:cxn modelId="{C820C5BA-9290-4B76-8C5D-B372565FE3A8}" type="presParOf" srcId="{0C32E778-ADE8-4BFA-9AB1-31B995E2F3B9}" destId="{840972D5-F46C-43EA-B72F-D72A0A46AC0D}" srcOrd="1" destOrd="0" presId="urn:microsoft.com/office/officeart/2005/8/layout/pList2#2"/>
    <dgm:cxn modelId="{DA6BA090-CFD8-4EFB-82BF-44720DF53DF9}" type="presParOf" srcId="{0C32E778-ADE8-4BFA-9AB1-31B995E2F3B9}" destId="{7C2089EC-18C8-4DBD-BDD9-C48631C95D2F}" srcOrd="2" destOrd="0" presId="urn:microsoft.com/office/officeart/2005/8/layout/pList2#2"/>
    <dgm:cxn modelId="{1537A48E-5409-4C95-B656-515FE9AFD405}" type="presParOf" srcId="{7C2089EC-18C8-4DBD-BDD9-C48631C95D2F}" destId="{88DF7075-FB6F-477F-AA44-C5ADAC9E0AC3}" srcOrd="0" destOrd="0" presId="urn:microsoft.com/office/officeart/2005/8/layout/pList2#2"/>
    <dgm:cxn modelId="{7AEE9A97-78AE-47FD-B829-3199205CFC07}" type="presParOf" srcId="{7C2089EC-18C8-4DBD-BDD9-C48631C95D2F}" destId="{C94D4A3E-A877-48BA-B7FA-9DBC02792446}" srcOrd="1" destOrd="0" presId="urn:microsoft.com/office/officeart/2005/8/layout/pList2#2"/>
    <dgm:cxn modelId="{DEFE7374-FFA5-4C83-A521-BEC0151BC3B1}" type="presParOf" srcId="{7C2089EC-18C8-4DBD-BDD9-C48631C95D2F}" destId="{FC865BD5-3348-43A2-9804-D5004C138C11}" srcOrd="2" destOrd="0" presId="urn:microsoft.com/office/officeart/2005/8/layout/pList2#2"/>
    <dgm:cxn modelId="{18A7F051-4D24-4C0C-9606-2A89FDEE76D3}" type="presParOf" srcId="{0C32E778-ADE8-4BFA-9AB1-31B995E2F3B9}" destId="{40A735E6-8C07-4D39-BE29-5EA523ABD494}" srcOrd="3" destOrd="0" presId="urn:microsoft.com/office/officeart/2005/8/layout/pList2#2"/>
    <dgm:cxn modelId="{5DF2A17C-9A55-4ECA-8723-67DCCFD4B39F}" type="presParOf" srcId="{0C32E778-ADE8-4BFA-9AB1-31B995E2F3B9}" destId="{DFC5AF4E-DCBD-4A5B-BB85-E48D3BF2E1A9}" srcOrd="4" destOrd="0" presId="urn:microsoft.com/office/officeart/2005/8/layout/pList2#2"/>
    <dgm:cxn modelId="{3B47B823-E0C2-4BEA-9FB7-67E375D9FDB8}" type="presParOf" srcId="{DFC5AF4E-DCBD-4A5B-BB85-E48D3BF2E1A9}" destId="{07275A65-C56F-46B7-89F5-17CE5C97E8D3}" srcOrd="0" destOrd="0" presId="urn:microsoft.com/office/officeart/2005/8/layout/pList2#2"/>
    <dgm:cxn modelId="{7882024D-E6BE-4A6B-871D-DD9C9651569B}" type="presParOf" srcId="{DFC5AF4E-DCBD-4A5B-BB85-E48D3BF2E1A9}" destId="{F7FD8001-BBB0-489D-B8E2-CCF09E45DA85}" srcOrd="1" destOrd="0" presId="urn:microsoft.com/office/officeart/2005/8/layout/pList2#2"/>
    <dgm:cxn modelId="{ACDE54E6-1B13-4C50-AD06-A65D95B08579}" type="presParOf" srcId="{DFC5AF4E-DCBD-4A5B-BB85-E48D3BF2E1A9}" destId="{BBC4C3AA-98A3-455D-9DF8-1737C8F939CA}" srcOrd="2" destOrd="0" presId="urn:microsoft.com/office/officeart/2005/8/layout/pList2#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9DEE03D-E17B-BF4B-A857-89CE567AE54E}" type="doc">
      <dgm:prSet loTypeId="urn:microsoft.com/office/officeart/2008/layout/BendingPictureBlock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0445D33-73BC-CA4C-8282-6E7AE63042C2}">
      <dgm:prSet phldrT="[Texte]"/>
      <dgm:spPr/>
      <dgm:t>
        <a:bodyPr/>
        <a:lstStyle/>
        <a:p>
          <a:r>
            <a:rPr lang="fr-FR" dirty="0" smtClean="0"/>
            <a:t>Tour de Contrôle</a:t>
          </a:r>
          <a:endParaRPr lang="fr-FR" dirty="0"/>
        </a:p>
      </dgm:t>
    </dgm:pt>
    <dgm:pt modelId="{582B019A-3B7D-884A-9DBB-07E8AD630427}" type="parTrans" cxnId="{8641DFA7-B1EB-AD4A-A985-C1953F480842}">
      <dgm:prSet/>
      <dgm:spPr/>
      <dgm:t>
        <a:bodyPr/>
        <a:lstStyle/>
        <a:p>
          <a:endParaRPr lang="fr-FR"/>
        </a:p>
      </dgm:t>
    </dgm:pt>
    <dgm:pt modelId="{3BB123E8-51D8-884A-83D7-E1BFDE014A38}" type="sibTrans" cxnId="{8641DFA7-B1EB-AD4A-A985-C1953F480842}">
      <dgm:prSet/>
      <dgm:spPr/>
      <dgm:t>
        <a:bodyPr/>
        <a:lstStyle/>
        <a:p>
          <a:endParaRPr lang="fr-FR"/>
        </a:p>
      </dgm:t>
    </dgm:pt>
    <dgm:pt modelId="{9C95CABA-9A45-1A44-B321-177C06E858AC}" type="pres">
      <dgm:prSet presAssocID="{69DEE03D-E17B-BF4B-A857-89CE567AE54E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fr-FR"/>
        </a:p>
      </dgm:t>
    </dgm:pt>
    <dgm:pt modelId="{550595D6-9C30-514A-A3DC-A3C620933F07}" type="pres">
      <dgm:prSet presAssocID="{B0445D33-73BC-CA4C-8282-6E7AE63042C2}" presName="composite" presStyleCnt="0"/>
      <dgm:spPr/>
    </dgm:pt>
    <dgm:pt modelId="{7FF4E820-0648-8B41-96FA-13981E3ACA87}" type="pres">
      <dgm:prSet presAssocID="{B0445D33-73BC-CA4C-8282-6E7AE63042C2}" presName="rect1" presStyleLbl="bgImgPlace1" presStyleIdx="0" presStyleCnt="1" custScaleX="330230" custScaleY="385561" custLinFactX="-12856" custLinFactNeighborX="-100000" custLinFactNeighborY="-14480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6D8130F3-58D1-1B4D-A074-B833DBC2927C}" type="pres">
      <dgm:prSet presAssocID="{B0445D33-73BC-CA4C-8282-6E7AE63042C2}" presName="rect2" presStyleLbl="node1" presStyleIdx="0" presStyleCnt="1" custScaleX="369686" custLinFactX="200000" custLinFactY="-109290" custLinFactNeighborX="200156" custLinFactNeighborY="-2000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641DFA7-B1EB-AD4A-A985-C1953F480842}" srcId="{69DEE03D-E17B-BF4B-A857-89CE567AE54E}" destId="{B0445D33-73BC-CA4C-8282-6E7AE63042C2}" srcOrd="0" destOrd="0" parTransId="{582B019A-3B7D-884A-9DBB-07E8AD630427}" sibTransId="{3BB123E8-51D8-884A-83D7-E1BFDE014A38}"/>
    <dgm:cxn modelId="{89E786DF-CBEB-478F-839B-A7992AFF50D6}" type="presOf" srcId="{B0445D33-73BC-CA4C-8282-6E7AE63042C2}" destId="{6D8130F3-58D1-1B4D-A074-B833DBC2927C}" srcOrd="0" destOrd="0" presId="urn:microsoft.com/office/officeart/2008/layout/BendingPictureBlocks"/>
    <dgm:cxn modelId="{16367E92-8555-49E7-AC6B-4A0554933C28}" type="presOf" srcId="{69DEE03D-E17B-BF4B-A857-89CE567AE54E}" destId="{9C95CABA-9A45-1A44-B321-177C06E858AC}" srcOrd="0" destOrd="0" presId="urn:microsoft.com/office/officeart/2008/layout/BendingPictureBlocks"/>
    <dgm:cxn modelId="{D421DF64-E67B-4BF6-9AD5-4C7A449F1E63}" type="presParOf" srcId="{9C95CABA-9A45-1A44-B321-177C06E858AC}" destId="{550595D6-9C30-514A-A3DC-A3C620933F07}" srcOrd="0" destOrd="0" presId="urn:microsoft.com/office/officeart/2008/layout/BendingPictureBlocks"/>
    <dgm:cxn modelId="{F9265745-17D4-4460-A250-1B4267B19334}" type="presParOf" srcId="{550595D6-9C30-514A-A3DC-A3C620933F07}" destId="{7FF4E820-0648-8B41-96FA-13981E3ACA87}" srcOrd="0" destOrd="0" presId="urn:microsoft.com/office/officeart/2008/layout/BendingPictureBlocks"/>
    <dgm:cxn modelId="{943A20D4-B7AE-4DFB-BB91-907D8C739DDD}" type="presParOf" srcId="{550595D6-9C30-514A-A3DC-A3C620933F07}" destId="{6D8130F3-58D1-1B4D-A074-B833DBC2927C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9DEE03D-E17B-BF4B-A857-89CE567AE54E}" type="doc">
      <dgm:prSet loTypeId="urn:microsoft.com/office/officeart/2008/layout/BendingPictureBlock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7253BC4-3593-0A42-9CD4-F5DCE03E71BC}">
      <dgm:prSet phldrT="[Texte]" custT="1"/>
      <dgm:spPr/>
      <dgm:t>
        <a:bodyPr/>
        <a:lstStyle/>
        <a:p>
          <a:r>
            <a:rPr lang="fr-FR" sz="1800" dirty="0" smtClean="0"/>
            <a:t>PAVILLON PRESIDENTIEL</a:t>
          </a:r>
          <a:endParaRPr lang="fr-FR" sz="1800" dirty="0"/>
        </a:p>
      </dgm:t>
    </dgm:pt>
    <dgm:pt modelId="{339DAD3A-A6BD-C744-81C8-96018BBBDD6A}" type="parTrans" cxnId="{4FF5014C-93CB-0A47-A699-D33312B9AC1F}">
      <dgm:prSet/>
      <dgm:spPr/>
      <dgm:t>
        <a:bodyPr/>
        <a:lstStyle/>
        <a:p>
          <a:endParaRPr lang="fr-FR"/>
        </a:p>
      </dgm:t>
    </dgm:pt>
    <dgm:pt modelId="{D773206A-22A8-5449-83F4-3A5D5EAFA5CB}" type="sibTrans" cxnId="{4FF5014C-93CB-0A47-A699-D33312B9AC1F}">
      <dgm:prSet/>
      <dgm:spPr/>
      <dgm:t>
        <a:bodyPr/>
        <a:lstStyle/>
        <a:p>
          <a:endParaRPr lang="fr-FR"/>
        </a:p>
      </dgm:t>
    </dgm:pt>
    <dgm:pt modelId="{9C95CABA-9A45-1A44-B321-177C06E858AC}" type="pres">
      <dgm:prSet presAssocID="{69DEE03D-E17B-BF4B-A857-89CE567AE54E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fr-FR"/>
        </a:p>
      </dgm:t>
    </dgm:pt>
    <dgm:pt modelId="{96764744-C69B-EE4A-B6B4-FA3A00371513}" type="pres">
      <dgm:prSet presAssocID="{27253BC4-3593-0A42-9CD4-F5DCE03E71BC}" presName="composite" presStyleCnt="0"/>
      <dgm:spPr/>
    </dgm:pt>
    <dgm:pt modelId="{94495F60-29B0-8348-9A13-9B59F356E1C0}" type="pres">
      <dgm:prSet presAssocID="{27253BC4-3593-0A42-9CD4-F5DCE03E71BC}" presName="rect1" presStyleLbl="bgImgPlace1" presStyleIdx="0" presStyleCnt="1" custScaleX="133938" custScaleY="124126" custLinFactNeighborX="-42184" custLinFactNeighborY="-2984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960C2BEA-EA09-6246-A945-24B385D1699C}" type="pres">
      <dgm:prSet presAssocID="{27253BC4-3593-0A42-9CD4-F5DCE03E71BC}" presName="rect2" presStyleLbl="node1" presStyleIdx="0" presStyleCnt="1" custAng="10800000" custFlipVert="1" custScaleX="122155" custScaleY="20107" custLinFactX="100000" custLinFactY="-31040" custLinFactNeighborX="100273" custLinFactNeighborY="-1000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9160ED0-DBF0-44D6-A07B-A4B999957B52}" type="presOf" srcId="{69DEE03D-E17B-BF4B-A857-89CE567AE54E}" destId="{9C95CABA-9A45-1A44-B321-177C06E858AC}" srcOrd="0" destOrd="0" presId="urn:microsoft.com/office/officeart/2008/layout/BendingPictureBlocks"/>
    <dgm:cxn modelId="{4FF5014C-93CB-0A47-A699-D33312B9AC1F}" srcId="{69DEE03D-E17B-BF4B-A857-89CE567AE54E}" destId="{27253BC4-3593-0A42-9CD4-F5DCE03E71BC}" srcOrd="0" destOrd="0" parTransId="{339DAD3A-A6BD-C744-81C8-96018BBBDD6A}" sibTransId="{D773206A-22A8-5449-83F4-3A5D5EAFA5CB}"/>
    <dgm:cxn modelId="{513E8964-699D-481E-A7FA-F2BCBE7C788A}" type="presOf" srcId="{27253BC4-3593-0A42-9CD4-F5DCE03E71BC}" destId="{960C2BEA-EA09-6246-A945-24B385D1699C}" srcOrd="0" destOrd="0" presId="urn:microsoft.com/office/officeart/2008/layout/BendingPictureBlocks"/>
    <dgm:cxn modelId="{A297D0A1-E0A7-4F3A-A2A8-80CDD14D5B9D}" type="presParOf" srcId="{9C95CABA-9A45-1A44-B321-177C06E858AC}" destId="{96764744-C69B-EE4A-B6B4-FA3A00371513}" srcOrd="0" destOrd="0" presId="urn:microsoft.com/office/officeart/2008/layout/BendingPictureBlocks"/>
    <dgm:cxn modelId="{5B339D79-33B3-40CA-924B-1D5FD404D292}" type="presParOf" srcId="{96764744-C69B-EE4A-B6B4-FA3A00371513}" destId="{94495F60-29B0-8348-9A13-9B59F356E1C0}" srcOrd="0" destOrd="0" presId="urn:microsoft.com/office/officeart/2008/layout/BendingPictureBlocks"/>
    <dgm:cxn modelId="{C572982D-9AEA-4600-B666-EAE1C7EBD0A9}" type="presParOf" srcId="{96764744-C69B-EE4A-B6B4-FA3A00371513}" destId="{960C2BEA-EA09-6246-A945-24B385D1699C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9DEE03D-E17B-BF4B-A857-89CE567AE54E}" type="doc">
      <dgm:prSet loTypeId="urn:microsoft.com/office/officeart/2008/layout/BendingPictureBlock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C95CABA-9A45-1A44-B321-177C06E858AC}" type="pres">
      <dgm:prSet presAssocID="{69DEE03D-E17B-BF4B-A857-89CE567AE54E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fr-FR"/>
        </a:p>
      </dgm:t>
    </dgm:pt>
  </dgm:ptLst>
  <dgm:cxnLst>
    <dgm:cxn modelId="{C3EA9D2C-AE38-4240-8B6D-17E57CEF9766}" type="presOf" srcId="{69DEE03D-E17B-BF4B-A857-89CE567AE54E}" destId="{9C95CABA-9A45-1A44-B321-177C06E858AC}" srcOrd="0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278BEAB-7904-4B0D-B694-88F8D30283DC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C8901D55-2BBD-4B52-97B1-F49135260A6C}">
      <dgm:prSet phldrT="[Texte]" custT="1"/>
      <dgm:spPr>
        <a:solidFill>
          <a:srgbClr val="00B050"/>
        </a:solidFill>
        <a:ln w="38100">
          <a:solidFill>
            <a:schemeClr val="tx1"/>
          </a:solidFill>
        </a:ln>
      </dgm:spPr>
      <dgm:t>
        <a:bodyPr/>
        <a:lstStyle/>
        <a:p>
          <a:r>
            <a:rPr lang="fr-FR" sz="1800" dirty="0" smtClean="0"/>
            <a:t>AEROPORT MODERNE</a:t>
          </a:r>
          <a:endParaRPr lang="fr-FR" sz="1800" dirty="0"/>
        </a:p>
      </dgm:t>
    </dgm:pt>
    <dgm:pt modelId="{75592FA2-EB17-47FF-87DF-619056494796}" type="parTrans" cxnId="{71700A25-B350-4974-B1B7-67B083E9AE4D}">
      <dgm:prSet/>
      <dgm:spPr/>
      <dgm:t>
        <a:bodyPr/>
        <a:lstStyle/>
        <a:p>
          <a:endParaRPr lang="fr-FR"/>
        </a:p>
      </dgm:t>
    </dgm:pt>
    <dgm:pt modelId="{4BBB5AF5-F0B4-414C-9191-EE19A6BCE35B}" type="sibTrans" cxnId="{71700A25-B350-4974-B1B7-67B083E9AE4D}">
      <dgm:prSet/>
      <dgm:spPr/>
      <dgm:t>
        <a:bodyPr/>
        <a:lstStyle/>
        <a:p>
          <a:endParaRPr lang="fr-FR"/>
        </a:p>
      </dgm:t>
    </dgm:pt>
    <dgm:pt modelId="{6B2EF97C-B017-490D-8921-32F0C3F0D316}">
      <dgm:prSet phldrT="[Texte]" custT="1"/>
      <dgm:spPr>
        <a:ln w="38100">
          <a:solidFill>
            <a:schemeClr val="tx1"/>
          </a:solidFill>
        </a:ln>
      </dgm:spPr>
      <dgm:t>
        <a:bodyPr/>
        <a:lstStyle/>
        <a:p>
          <a:r>
            <a:rPr lang="fr-FR" sz="1800" dirty="0" smtClean="0"/>
            <a:t>PAVILLON NATIONAL FORT</a:t>
          </a:r>
          <a:endParaRPr lang="fr-FR" sz="1800" dirty="0"/>
        </a:p>
      </dgm:t>
    </dgm:pt>
    <dgm:pt modelId="{2BC0F087-E7D8-465A-8058-7AF7609A13DA}" type="parTrans" cxnId="{263667F1-7A81-415A-B68F-422BF4006425}">
      <dgm:prSet/>
      <dgm:spPr/>
      <dgm:t>
        <a:bodyPr/>
        <a:lstStyle/>
        <a:p>
          <a:endParaRPr lang="fr-FR"/>
        </a:p>
      </dgm:t>
    </dgm:pt>
    <dgm:pt modelId="{83A60F52-2646-40A4-9698-2504C353342D}" type="sibTrans" cxnId="{263667F1-7A81-415A-B68F-422BF4006425}">
      <dgm:prSet/>
      <dgm:spPr/>
      <dgm:t>
        <a:bodyPr/>
        <a:lstStyle/>
        <a:p>
          <a:endParaRPr lang="fr-FR"/>
        </a:p>
      </dgm:t>
    </dgm:pt>
    <dgm:pt modelId="{06044029-B695-4BEA-89BC-4B653F0C4CC3}">
      <dgm:prSet phldrT="[Texte]" custT="1"/>
      <dgm:spPr>
        <a:solidFill>
          <a:srgbClr val="FF0000"/>
        </a:solidFill>
        <a:ln w="38100">
          <a:solidFill>
            <a:schemeClr val="tx1"/>
          </a:solidFill>
        </a:ln>
      </dgm:spPr>
      <dgm:t>
        <a:bodyPr/>
        <a:lstStyle/>
        <a:p>
          <a:r>
            <a:rPr lang="fr-FR" sz="2000" dirty="0" smtClean="0"/>
            <a:t>CENTRE DE MAINTENANCE</a:t>
          </a:r>
          <a:endParaRPr lang="fr-FR" sz="2000" dirty="0"/>
        </a:p>
      </dgm:t>
    </dgm:pt>
    <dgm:pt modelId="{B3E68135-2683-4503-8AA3-B56CC3605F29}" type="parTrans" cxnId="{0C5708C6-317E-4FB4-8217-CAE723532600}">
      <dgm:prSet/>
      <dgm:spPr/>
      <dgm:t>
        <a:bodyPr/>
        <a:lstStyle/>
        <a:p>
          <a:endParaRPr lang="fr-FR"/>
        </a:p>
      </dgm:t>
    </dgm:pt>
    <dgm:pt modelId="{259DB68E-E24F-4C64-945B-DB9921BB19D8}" type="sibTrans" cxnId="{0C5708C6-317E-4FB4-8217-CAE723532600}">
      <dgm:prSet/>
      <dgm:spPr/>
      <dgm:t>
        <a:bodyPr/>
        <a:lstStyle/>
        <a:p>
          <a:endParaRPr lang="fr-FR"/>
        </a:p>
      </dgm:t>
    </dgm:pt>
    <dgm:pt modelId="{5606BFAA-B475-477D-9BCB-610B3E364413}">
      <dgm:prSet phldrT="[Texte]" custT="1"/>
      <dgm:spPr>
        <a:solidFill>
          <a:srgbClr val="92D050"/>
        </a:solidFill>
        <a:ln w="38100">
          <a:solidFill>
            <a:schemeClr val="tx1"/>
          </a:solidFill>
        </a:ln>
      </dgm:spPr>
      <dgm:t>
        <a:bodyPr/>
        <a:lstStyle/>
        <a:p>
          <a:r>
            <a:rPr lang="fr-FR" sz="1600" dirty="0" smtClean="0"/>
            <a:t>INSTITUT DE FORMATION</a:t>
          </a:r>
          <a:endParaRPr lang="fr-FR" sz="1600" dirty="0"/>
        </a:p>
      </dgm:t>
    </dgm:pt>
    <dgm:pt modelId="{01855420-3F05-4CD2-A381-223B3868DE90}" type="parTrans" cxnId="{A3D2DCE2-8D08-4375-843B-AB31B4FA6A64}">
      <dgm:prSet/>
      <dgm:spPr/>
      <dgm:t>
        <a:bodyPr/>
        <a:lstStyle/>
        <a:p>
          <a:endParaRPr lang="fr-FR"/>
        </a:p>
      </dgm:t>
    </dgm:pt>
    <dgm:pt modelId="{F4DC5394-1DFF-4041-AC41-11E5E3473DBD}" type="sibTrans" cxnId="{A3D2DCE2-8D08-4375-843B-AB31B4FA6A64}">
      <dgm:prSet/>
      <dgm:spPr/>
      <dgm:t>
        <a:bodyPr/>
        <a:lstStyle/>
        <a:p>
          <a:endParaRPr lang="fr-FR"/>
        </a:p>
      </dgm:t>
    </dgm:pt>
    <dgm:pt modelId="{2F5723B0-CA16-4ED7-950C-670860346A11}" type="pres">
      <dgm:prSet presAssocID="{5278BEAB-7904-4B0D-B694-88F8D30283DC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1DE36C2B-9305-4E87-AD52-23718D96A3F1}" type="pres">
      <dgm:prSet presAssocID="{C8901D55-2BBD-4B52-97B1-F49135260A6C}" presName="node" presStyleLbl="node1" presStyleIdx="0" presStyleCnt="4" custScaleX="114077" custRadScaleRad="104589" custRadScaleInc="321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1F628D-BEBC-48CA-A155-BFA65A830BBD}" type="pres">
      <dgm:prSet presAssocID="{4BBB5AF5-F0B4-414C-9191-EE19A6BCE35B}" presName="sibTrans" presStyleLbl="sibTrans2D1" presStyleIdx="0" presStyleCnt="4" custScaleX="157895" custLinFactNeighborX="52871" custLinFactNeighborY="-13760"/>
      <dgm:spPr/>
      <dgm:t>
        <a:bodyPr/>
        <a:lstStyle/>
        <a:p>
          <a:endParaRPr lang="fr-FR"/>
        </a:p>
      </dgm:t>
    </dgm:pt>
    <dgm:pt modelId="{08FAD5C3-6A97-4F77-9C13-F1605E2011C5}" type="pres">
      <dgm:prSet presAssocID="{4BBB5AF5-F0B4-414C-9191-EE19A6BCE35B}" presName="connectorText" presStyleLbl="sibTrans2D1" presStyleIdx="0" presStyleCnt="4"/>
      <dgm:spPr/>
      <dgm:t>
        <a:bodyPr/>
        <a:lstStyle/>
        <a:p>
          <a:endParaRPr lang="fr-FR"/>
        </a:p>
      </dgm:t>
    </dgm:pt>
    <dgm:pt modelId="{7FE3F2DE-C02C-4521-96FF-06581F71AEB2}" type="pres">
      <dgm:prSet presAssocID="{6B2EF97C-B017-490D-8921-32F0C3F0D316}" presName="node" presStyleLbl="node1" presStyleIdx="1" presStyleCnt="4" custScaleX="113740" custRadScaleRad="112471" custRadScaleInc="-1070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9B48236-5CF7-4588-BA3D-53763EE034A5}" type="pres">
      <dgm:prSet presAssocID="{83A60F52-2646-40A4-9698-2504C353342D}" presName="sibTrans" presStyleLbl="sibTrans2D1" presStyleIdx="1" presStyleCnt="4" custScaleX="141914" custLinFactNeighborX="16693" custLinFactNeighborY="17561"/>
      <dgm:spPr/>
      <dgm:t>
        <a:bodyPr/>
        <a:lstStyle/>
        <a:p>
          <a:endParaRPr lang="fr-FR"/>
        </a:p>
      </dgm:t>
    </dgm:pt>
    <dgm:pt modelId="{8C91FD99-79DD-4F41-8F50-F283E1A0CDD9}" type="pres">
      <dgm:prSet presAssocID="{83A60F52-2646-40A4-9698-2504C353342D}" presName="connectorText" presStyleLbl="sibTrans2D1" presStyleIdx="1" presStyleCnt="4"/>
      <dgm:spPr/>
      <dgm:t>
        <a:bodyPr/>
        <a:lstStyle/>
        <a:p>
          <a:endParaRPr lang="fr-FR"/>
        </a:p>
      </dgm:t>
    </dgm:pt>
    <dgm:pt modelId="{09CC633D-A968-4FD7-8473-BD2580F4158F}" type="pres">
      <dgm:prSet presAssocID="{06044029-B695-4BEA-89BC-4B653F0C4CC3}" presName="node" presStyleLbl="node1" presStyleIdx="2" presStyleCnt="4" custScaleX="143602" custScaleY="103236" custRadScaleRad="101073" custRadScaleInc="-794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C230100-1502-4DC9-BC04-44568FA20D07}" type="pres">
      <dgm:prSet presAssocID="{259DB68E-E24F-4C64-945B-DB9921BB19D8}" presName="sibTrans" presStyleLbl="sibTrans2D1" presStyleIdx="2" presStyleCnt="4" custScaleX="131518" custLinFactNeighborX="-21675" custLinFactNeighborY="22350"/>
      <dgm:spPr/>
      <dgm:t>
        <a:bodyPr/>
        <a:lstStyle/>
        <a:p>
          <a:endParaRPr lang="fr-FR"/>
        </a:p>
      </dgm:t>
    </dgm:pt>
    <dgm:pt modelId="{D6F4D0F4-BB2C-4988-93B7-3B85BF6E65C7}" type="pres">
      <dgm:prSet presAssocID="{259DB68E-E24F-4C64-945B-DB9921BB19D8}" presName="connectorText" presStyleLbl="sibTrans2D1" presStyleIdx="2" presStyleCnt="4"/>
      <dgm:spPr/>
      <dgm:t>
        <a:bodyPr/>
        <a:lstStyle/>
        <a:p>
          <a:endParaRPr lang="fr-FR"/>
        </a:p>
      </dgm:t>
    </dgm:pt>
    <dgm:pt modelId="{4B2C3FBE-3440-411F-BB1C-EB5E5B4F99A5}" type="pres">
      <dgm:prSet presAssocID="{5606BFAA-B475-477D-9BCB-610B3E364413}" presName="node" presStyleLbl="node1" presStyleIdx="3" presStyleCnt="4" custScaleX="112220" custRadScaleRad="113237" custRadScaleInc="478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7070DE2-60A3-4948-9524-2DE5AB2C7B40}" type="pres">
      <dgm:prSet presAssocID="{F4DC5394-1DFF-4041-AC41-11E5E3473DBD}" presName="sibTrans" presStyleLbl="sibTrans2D1" presStyleIdx="3" presStyleCnt="4" custScaleX="145208" custLinFactNeighborX="-4907" custLinFactNeighborY="-22351"/>
      <dgm:spPr/>
      <dgm:t>
        <a:bodyPr/>
        <a:lstStyle/>
        <a:p>
          <a:endParaRPr lang="fr-FR"/>
        </a:p>
      </dgm:t>
    </dgm:pt>
    <dgm:pt modelId="{381DCCDF-A95E-4D36-BDD2-39CEA8D20F6E}" type="pres">
      <dgm:prSet presAssocID="{F4DC5394-1DFF-4041-AC41-11E5E3473DBD}" presName="connectorText" presStyleLbl="sibTrans2D1" presStyleIdx="3" presStyleCnt="4"/>
      <dgm:spPr/>
      <dgm:t>
        <a:bodyPr/>
        <a:lstStyle/>
        <a:p>
          <a:endParaRPr lang="fr-FR"/>
        </a:p>
      </dgm:t>
    </dgm:pt>
  </dgm:ptLst>
  <dgm:cxnLst>
    <dgm:cxn modelId="{CE2DEF0F-4BF8-4036-BD9A-9AA3FE4CCBBD}" type="presOf" srcId="{259DB68E-E24F-4C64-945B-DB9921BB19D8}" destId="{FC230100-1502-4DC9-BC04-44568FA20D07}" srcOrd="0" destOrd="0" presId="urn:microsoft.com/office/officeart/2005/8/layout/cycle2"/>
    <dgm:cxn modelId="{B5FA44A9-310D-469E-A4DB-1DD4C50F26EA}" type="presOf" srcId="{06044029-B695-4BEA-89BC-4B653F0C4CC3}" destId="{09CC633D-A968-4FD7-8473-BD2580F4158F}" srcOrd="0" destOrd="0" presId="urn:microsoft.com/office/officeart/2005/8/layout/cycle2"/>
    <dgm:cxn modelId="{9F068202-2BE5-4706-A312-31B8B674F63F}" type="presOf" srcId="{5278BEAB-7904-4B0D-B694-88F8D30283DC}" destId="{2F5723B0-CA16-4ED7-950C-670860346A11}" srcOrd="0" destOrd="0" presId="urn:microsoft.com/office/officeart/2005/8/layout/cycle2"/>
    <dgm:cxn modelId="{95603778-9C31-4E4B-BAA6-13504EB77557}" type="presOf" srcId="{F4DC5394-1DFF-4041-AC41-11E5E3473DBD}" destId="{F7070DE2-60A3-4948-9524-2DE5AB2C7B40}" srcOrd="0" destOrd="0" presId="urn:microsoft.com/office/officeart/2005/8/layout/cycle2"/>
    <dgm:cxn modelId="{80BE2278-1A5F-4382-83B1-51853AFCECF9}" type="presOf" srcId="{4BBB5AF5-F0B4-414C-9191-EE19A6BCE35B}" destId="{0C1F628D-BEBC-48CA-A155-BFA65A830BBD}" srcOrd="0" destOrd="0" presId="urn:microsoft.com/office/officeart/2005/8/layout/cycle2"/>
    <dgm:cxn modelId="{FC0CCA4B-6460-464B-B041-1007055BB789}" type="presOf" srcId="{4BBB5AF5-F0B4-414C-9191-EE19A6BCE35B}" destId="{08FAD5C3-6A97-4F77-9C13-F1605E2011C5}" srcOrd="1" destOrd="0" presId="urn:microsoft.com/office/officeart/2005/8/layout/cycle2"/>
    <dgm:cxn modelId="{0C5708C6-317E-4FB4-8217-CAE723532600}" srcId="{5278BEAB-7904-4B0D-B694-88F8D30283DC}" destId="{06044029-B695-4BEA-89BC-4B653F0C4CC3}" srcOrd="2" destOrd="0" parTransId="{B3E68135-2683-4503-8AA3-B56CC3605F29}" sibTransId="{259DB68E-E24F-4C64-945B-DB9921BB19D8}"/>
    <dgm:cxn modelId="{6221490C-6285-4764-9AD8-E51316DEB5A5}" type="presOf" srcId="{83A60F52-2646-40A4-9698-2504C353342D}" destId="{8C91FD99-79DD-4F41-8F50-F283E1A0CDD9}" srcOrd="1" destOrd="0" presId="urn:microsoft.com/office/officeart/2005/8/layout/cycle2"/>
    <dgm:cxn modelId="{D37195B4-921E-4B12-BBA3-F4911244E95D}" type="presOf" srcId="{5606BFAA-B475-477D-9BCB-610B3E364413}" destId="{4B2C3FBE-3440-411F-BB1C-EB5E5B4F99A5}" srcOrd="0" destOrd="0" presId="urn:microsoft.com/office/officeart/2005/8/layout/cycle2"/>
    <dgm:cxn modelId="{33C94AED-536D-4E2F-B88D-3BAD448023DD}" type="presOf" srcId="{6B2EF97C-B017-490D-8921-32F0C3F0D316}" destId="{7FE3F2DE-C02C-4521-96FF-06581F71AEB2}" srcOrd="0" destOrd="0" presId="urn:microsoft.com/office/officeart/2005/8/layout/cycle2"/>
    <dgm:cxn modelId="{DD4F5C14-0AF6-438E-88EA-5066A11836F6}" type="presOf" srcId="{F4DC5394-1DFF-4041-AC41-11E5E3473DBD}" destId="{381DCCDF-A95E-4D36-BDD2-39CEA8D20F6E}" srcOrd="1" destOrd="0" presId="urn:microsoft.com/office/officeart/2005/8/layout/cycle2"/>
    <dgm:cxn modelId="{F316E441-2A4C-43F0-93FF-60BFBA812A0D}" type="presOf" srcId="{C8901D55-2BBD-4B52-97B1-F49135260A6C}" destId="{1DE36C2B-9305-4E87-AD52-23718D96A3F1}" srcOrd="0" destOrd="0" presId="urn:microsoft.com/office/officeart/2005/8/layout/cycle2"/>
    <dgm:cxn modelId="{88C81C51-3167-416C-9821-C96B5FF31066}" type="presOf" srcId="{259DB68E-E24F-4C64-945B-DB9921BB19D8}" destId="{D6F4D0F4-BB2C-4988-93B7-3B85BF6E65C7}" srcOrd="1" destOrd="0" presId="urn:microsoft.com/office/officeart/2005/8/layout/cycle2"/>
    <dgm:cxn modelId="{A3D2DCE2-8D08-4375-843B-AB31B4FA6A64}" srcId="{5278BEAB-7904-4B0D-B694-88F8D30283DC}" destId="{5606BFAA-B475-477D-9BCB-610B3E364413}" srcOrd="3" destOrd="0" parTransId="{01855420-3F05-4CD2-A381-223B3868DE90}" sibTransId="{F4DC5394-1DFF-4041-AC41-11E5E3473DBD}"/>
    <dgm:cxn modelId="{A23C488D-79CC-4D68-92F5-02549FBCB827}" type="presOf" srcId="{83A60F52-2646-40A4-9698-2504C353342D}" destId="{09B48236-5CF7-4588-BA3D-53763EE034A5}" srcOrd="0" destOrd="0" presId="urn:microsoft.com/office/officeart/2005/8/layout/cycle2"/>
    <dgm:cxn modelId="{71700A25-B350-4974-B1B7-67B083E9AE4D}" srcId="{5278BEAB-7904-4B0D-B694-88F8D30283DC}" destId="{C8901D55-2BBD-4B52-97B1-F49135260A6C}" srcOrd="0" destOrd="0" parTransId="{75592FA2-EB17-47FF-87DF-619056494796}" sibTransId="{4BBB5AF5-F0B4-414C-9191-EE19A6BCE35B}"/>
    <dgm:cxn modelId="{263667F1-7A81-415A-B68F-422BF4006425}" srcId="{5278BEAB-7904-4B0D-B694-88F8D30283DC}" destId="{6B2EF97C-B017-490D-8921-32F0C3F0D316}" srcOrd="1" destOrd="0" parTransId="{2BC0F087-E7D8-465A-8058-7AF7609A13DA}" sibTransId="{83A60F52-2646-40A4-9698-2504C353342D}"/>
    <dgm:cxn modelId="{4870413E-DD6F-417C-A440-5151D647D59A}" type="presParOf" srcId="{2F5723B0-CA16-4ED7-950C-670860346A11}" destId="{1DE36C2B-9305-4E87-AD52-23718D96A3F1}" srcOrd="0" destOrd="0" presId="urn:microsoft.com/office/officeart/2005/8/layout/cycle2"/>
    <dgm:cxn modelId="{0F01E826-EE54-4E53-A776-98D10F97CF13}" type="presParOf" srcId="{2F5723B0-CA16-4ED7-950C-670860346A11}" destId="{0C1F628D-BEBC-48CA-A155-BFA65A830BBD}" srcOrd="1" destOrd="0" presId="urn:microsoft.com/office/officeart/2005/8/layout/cycle2"/>
    <dgm:cxn modelId="{72085414-ED32-4097-9BFA-EEEF36B17835}" type="presParOf" srcId="{0C1F628D-BEBC-48CA-A155-BFA65A830BBD}" destId="{08FAD5C3-6A97-4F77-9C13-F1605E2011C5}" srcOrd="0" destOrd="0" presId="urn:microsoft.com/office/officeart/2005/8/layout/cycle2"/>
    <dgm:cxn modelId="{4BA3D01E-8B7E-457E-8E5A-18FAFD2248E5}" type="presParOf" srcId="{2F5723B0-CA16-4ED7-950C-670860346A11}" destId="{7FE3F2DE-C02C-4521-96FF-06581F71AEB2}" srcOrd="2" destOrd="0" presId="urn:microsoft.com/office/officeart/2005/8/layout/cycle2"/>
    <dgm:cxn modelId="{51942662-14D7-4DFF-88AA-6A3416908EE0}" type="presParOf" srcId="{2F5723B0-CA16-4ED7-950C-670860346A11}" destId="{09B48236-5CF7-4588-BA3D-53763EE034A5}" srcOrd="3" destOrd="0" presId="urn:microsoft.com/office/officeart/2005/8/layout/cycle2"/>
    <dgm:cxn modelId="{0C4AF69D-CE7B-4E14-BF12-F3432127B63B}" type="presParOf" srcId="{09B48236-5CF7-4588-BA3D-53763EE034A5}" destId="{8C91FD99-79DD-4F41-8F50-F283E1A0CDD9}" srcOrd="0" destOrd="0" presId="urn:microsoft.com/office/officeart/2005/8/layout/cycle2"/>
    <dgm:cxn modelId="{0FE967D5-0B27-4748-974A-85CA56F3E89E}" type="presParOf" srcId="{2F5723B0-CA16-4ED7-950C-670860346A11}" destId="{09CC633D-A968-4FD7-8473-BD2580F4158F}" srcOrd="4" destOrd="0" presId="urn:microsoft.com/office/officeart/2005/8/layout/cycle2"/>
    <dgm:cxn modelId="{AAB3DD94-82D4-4944-A55C-C9426AD16977}" type="presParOf" srcId="{2F5723B0-CA16-4ED7-950C-670860346A11}" destId="{FC230100-1502-4DC9-BC04-44568FA20D07}" srcOrd="5" destOrd="0" presId="urn:microsoft.com/office/officeart/2005/8/layout/cycle2"/>
    <dgm:cxn modelId="{0F3B00D9-EE8A-4D7D-BA11-1735D314722E}" type="presParOf" srcId="{FC230100-1502-4DC9-BC04-44568FA20D07}" destId="{D6F4D0F4-BB2C-4988-93B7-3B85BF6E65C7}" srcOrd="0" destOrd="0" presId="urn:microsoft.com/office/officeart/2005/8/layout/cycle2"/>
    <dgm:cxn modelId="{9BA786ED-A5FF-46B2-BD17-3171D25C0FEC}" type="presParOf" srcId="{2F5723B0-CA16-4ED7-950C-670860346A11}" destId="{4B2C3FBE-3440-411F-BB1C-EB5E5B4F99A5}" srcOrd="6" destOrd="0" presId="urn:microsoft.com/office/officeart/2005/8/layout/cycle2"/>
    <dgm:cxn modelId="{532287DA-72AA-4A3A-9433-C1F5809F99F4}" type="presParOf" srcId="{2F5723B0-CA16-4ED7-950C-670860346A11}" destId="{F7070DE2-60A3-4948-9524-2DE5AB2C7B40}" srcOrd="7" destOrd="0" presId="urn:microsoft.com/office/officeart/2005/8/layout/cycle2"/>
    <dgm:cxn modelId="{52083E14-E48F-46BB-B209-B386C2C34604}" type="presParOf" srcId="{F7070DE2-60A3-4948-9524-2DE5AB2C7B40}" destId="{381DCCDF-A95E-4D36-BDD2-39CEA8D20F6E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FF4C0E-1198-498C-BFEC-78F2A56184E0}">
      <dsp:nvSpPr>
        <dsp:cNvPr id="0" name=""/>
        <dsp:cNvSpPr/>
      </dsp:nvSpPr>
      <dsp:spPr>
        <a:xfrm rot="5400000">
          <a:off x="-135985" y="136935"/>
          <a:ext cx="906569" cy="634598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1</a:t>
          </a:r>
          <a:endParaRPr lang="fr-FR" sz="1700" kern="1200" dirty="0"/>
        </a:p>
      </dsp:txBody>
      <dsp:txXfrm rot="-5400000">
        <a:off x="1" y="318248"/>
        <a:ext cx="634598" cy="271971"/>
      </dsp:txXfrm>
    </dsp:sp>
    <dsp:sp modelId="{22947D27-30C9-49A3-824D-F5595BC77246}">
      <dsp:nvSpPr>
        <dsp:cNvPr id="0" name=""/>
        <dsp:cNvSpPr/>
      </dsp:nvSpPr>
      <dsp:spPr>
        <a:xfrm rot="5400000">
          <a:off x="3070664" y="-2436065"/>
          <a:ext cx="589270" cy="546140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696" tIns="20955" rIns="20955" bIns="20955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3300" kern="1200" dirty="0" smtClean="0"/>
            <a:t>INTRODUCTION</a:t>
          </a:r>
          <a:endParaRPr lang="fr-FR" sz="3300" kern="1200" dirty="0"/>
        </a:p>
      </dsp:txBody>
      <dsp:txXfrm rot="-5400000">
        <a:off x="634599" y="28766"/>
        <a:ext cx="5432635" cy="531738"/>
      </dsp:txXfrm>
    </dsp:sp>
    <dsp:sp modelId="{47131AB8-2E4B-4FEC-8AD7-460A691EBCE3}">
      <dsp:nvSpPr>
        <dsp:cNvPr id="0" name=""/>
        <dsp:cNvSpPr/>
      </dsp:nvSpPr>
      <dsp:spPr>
        <a:xfrm rot="5400000">
          <a:off x="-135985" y="890229"/>
          <a:ext cx="906569" cy="634598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2</a:t>
          </a:r>
          <a:endParaRPr lang="fr-FR" sz="1700" kern="1200" dirty="0"/>
        </a:p>
      </dsp:txBody>
      <dsp:txXfrm rot="-5400000">
        <a:off x="1" y="1071542"/>
        <a:ext cx="634598" cy="271971"/>
      </dsp:txXfrm>
    </dsp:sp>
    <dsp:sp modelId="{5A8BDFA1-36A0-4A30-8FA9-9D68E288CEB7}">
      <dsp:nvSpPr>
        <dsp:cNvPr id="0" name=""/>
        <dsp:cNvSpPr/>
      </dsp:nvSpPr>
      <dsp:spPr>
        <a:xfrm rot="5400000">
          <a:off x="3042756" y="-1581792"/>
          <a:ext cx="589270" cy="546140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696" tIns="20955" rIns="20955" bIns="20955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3300" kern="1200" dirty="0" smtClean="0"/>
            <a:t>ETAT DES LIEUX</a:t>
          </a:r>
          <a:endParaRPr lang="fr-FR" sz="3300" kern="1200" dirty="0"/>
        </a:p>
      </dsp:txBody>
      <dsp:txXfrm rot="-5400000">
        <a:off x="606691" y="883039"/>
        <a:ext cx="5432635" cy="531738"/>
      </dsp:txXfrm>
    </dsp:sp>
    <dsp:sp modelId="{532D5C44-E69C-4392-A120-4BF52D534FE9}">
      <dsp:nvSpPr>
        <dsp:cNvPr id="0" name=""/>
        <dsp:cNvSpPr/>
      </dsp:nvSpPr>
      <dsp:spPr>
        <a:xfrm rot="5400000">
          <a:off x="-135985" y="1643523"/>
          <a:ext cx="906569" cy="634598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3</a:t>
          </a:r>
          <a:endParaRPr lang="fr-FR" sz="1700" kern="1200" dirty="0"/>
        </a:p>
      </dsp:txBody>
      <dsp:txXfrm rot="-5400000">
        <a:off x="1" y="1824836"/>
        <a:ext cx="634598" cy="271971"/>
      </dsp:txXfrm>
    </dsp:sp>
    <dsp:sp modelId="{31523ABE-0B32-4587-8248-8ACC41BA3811}">
      <dsp:nvSpPr>
        <dsp:cNvPr id="0" name=""/>
        <dsp:cNvSpPr/>
      </dsp:nvSpPr>
      <dsp:spPr>
        <a:xfrm rot="5400000">
          <a:off x="3070664" y="-842617"/>
          <a:ext cx="589270" cy="546140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696" tIns="20955" rIns="20955" bIns="20955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3300" kern="1200" dirty="0" smtClean="0"/>
            <a:t>ENJEUX ET PERSPECTIVES</a:t>
          </a:r>
          <a:endParaRPr lang="fr-FR" sz="3300" kern="1200" dirty="0"/>
        </a:p>
      </dsp:txBody>
      <dsp:txXfrm rot="-5400000">
        <a:off x="634599" y="1622214"/>
        <a:ext cx="5432635" cy="531738"/>
      </dsp:txXfrm>
    </dsp:sp>
    <dsp:sp modelId="{B28417F6-79F8-4334-890C-9304B2AE3619}">
      <dsp:nvSpPr>
        <dsp:cNvPr id="0" name=""/>
        <dsp:cNvSpPr/>
      </dsp:nvSpPr>
      <dsp:spPr>
        <a:xfrm rot="5400000">
          <a:off x="-135985" y="2396817"/>
          <a:ext cx="906569" cy="634598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4</a:t>
          </a:r>
          <a:endParaRPr lang="fr-FR" sz="1700" kern="1200" dirty="0"/>
        </a:p>
      </dsp:txBody>
      <dsp:txXfrm rot="-5400000">
        <a:off x="1" y="2578130"/>
        <a:ext cx="634598" cy="271971"/>
      </dsp:txXfrm>
    </dsp:sp>
    <dsp:sp modelId="{7C206FAA-BCF7-489C-8289-2373AB46C5F1}">
      <dsp:nvSpPr>
        <dsp:cNvPr id="0" name=""/>
        <dsp:cNvSpPr/>
      </dsp:nvSpPr>
      <dsp:spPr>
        <a:xfrm rot="5400000">
          <a:off x="3042756" y="-140030"/>
          <a:ext cx="589270" cy="546140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696" tIns="20955" rIns="20955" bIns="20955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3300" kern="1200" dirty="0" smtClean="0"/>
            <a:t>CONCLUSION</a:t>
          </a:r>
          <a:endParaRPr lang="fr-FR" sz="3300" kern="1200" dirty="0"/>
        </a:p>
      </dsp:txBody>
      <dsp:txXfrm rot="-5400000">
        <a:off x="606691" y="2324801"/>
        <a:ext cx="5432635" cy="53173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5BFF95-89A9-41A2-BBCF-1409A4258A92}">
      <dsp:nvSpPr>
        <dsp:cNvPr id="0" name=""/>
        <dsp:cNvSpPr/>
      </dsp:nvSpPr>
      <dsp:spPr>
        <a:xfrm>
          <a:off x="900770" y="0"/>
          <a:ext cx="1552878" cy="77643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/>
            <a:t>FORCES</a:t>
          </a:r>
          <a:endParaRPr lang="fr-FR" sz="1600" kern="1200" dirty="0"/>
        </a:p>
      </dsp:txBody>
      <dsp:txXfrm>
        <a:off x="923511" y="22741"/>
        <a:ext cx="1507396" cy="730957"/>
      </dsp:txXfrm>
    </dsp:sp>
    <dsp:sp modelId="{431255A2-70B7-412F-9309-51DC8757FBF2}">
      <dsp:nvSpPr>
        <dsp:cNvPr id="0" name=""/>
        <dsp:cNvSpPr/>
      </dsp:nvSpPr>
      <dsp:spPr>
        <a:xfrm>
          <a:off x="1056057" y="776439"/>
          <a:ext cx="157384" cy="5947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4769"/>
              </a:lnTo>
              <a:lnTo>
                <a:pt x="157384" y="594769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6ACA5F-863E-4EBA-83F5-60E80F15DC82}">
      <dsp:nvSpPr>
        <dsp:cNvPr id="0" name=""/>
        <dsp:cNvSpPr/>
      </dsp:nvSpPr>
      <dsp:spPr>
        <a:xfrm>
          <a:off x="1213442" y="982989"/>
          <a:ext cx="1242303" cy="7764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Projet stratégique porté par l’Etat</a:t>
          </a:r>
          <a:endParaRPr lang="fr-FR" sz="1200" kern="1200" dirty="0"/>
        </a:p>
      </dsp:txBody>
      <dsp:txXfrm>
        <a:off x="1236183" y="1005730"/>
        <a:ext cx="1196821" cy="730957"/>
      </dsp:txXfrm>
    </dsp:sp>
    <dsp:sp modelId="{44091FDE-4344-420B-B819-9A5ABCA778DC}">
      <dsp:nvSpPr>
        <dsp:cNvPr id="0" name=""/>
        <dsp:cNvSpPr/>
      </dsp:nvSpPr>
      <dsp:spPr>
        <a:xfrm>
          <a:off x="1056057" y="776439"/>
          <a:ext cx="157384" cy="154232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42320"/>
              </a:lnTo>
              <a:lnTo>
                <a:pt x="157384" y="1542320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E4570B-E43F-4470-98CF-1861EF97309F}">
      <dsp:nvSpPr>
        <dsp:cNvPr id="0" name=""/>
        <dsp:cNvSpPr/>
      </dsp:nvSpPr>
      <dsp:spPr>
        <a:xfrm>
          <a:off x="1213442" y="1930540"/>
          <a:ext cx="1242303" cy="7764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Partenaire professionnel</a:t>
          </a:r>
          <a:endParaRPr lang="fr-FR" sz="1200" kern="1200" dirty="0"/>
        </a:p>
      </dsp:txBody>
      <dsp:txXfrm>
        <a:off x="1236183" y="1953281"/>
        <a:ext cx="1196821" cy="730957"/>
      </dsp:txXfrm>
    </dsp:sp>
    <dsp:sp modelId="{EB430B2D-C096-4D04-8708-360C59D4C399}">
      <dsp:nvSpPr>
        <dsp:cNvPr id="0" name=""/>
        <dsp:cNvSpPr/>
      </dsp:nvSpPr>
      <dsp:spPr>
        <a:xfrm>
          <a:off x="1056057" y="776439"/>
          <a:ext cx="166639" cy="25261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26147"/>
              </a:lnTo>
              <a:lnTo>
                <a:pt x="166639" y="2526147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86276E-218D-402E-948F-E15D7D97DB7D}">
      <dsp:nvSpPr>
        <dsp:cNvPr id="0" name=""/>
        <dsp:cNvSpPr/>
      </dsp:nvSpPr>
      <dsp:spPr>
        <a:xfrm>
          <a:off x="1222697" y="2914367"/>
          <a:ext cx="1242303" cy="7764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Stabilité politique du pays</a:t>
          </a:r>
          <a:endParaRPr lang="fr-FR" sz="1200" kern="1200" dirty="0"/>
        </a:p>
      </dsp:txBody>
      <dsp:txXfrm>
        <a:off x="1245438" y="2937108"/>
        <a:ext cx="1196821" cy="730957"/>
      </dsp:txXfrm>
    </dsp:sp>
    <dsp:sp modelId="{2C92D238-5DD7-4D5F-8C1B-B7C08B439999}">
      <dsp:nvSpPr>
        <dsp:cNvPr id="0" name=""/>
        <dsp:cNvSpPr/>
      </dsp:nvSpPr>
      <dsp:spPr>
        <a:xfrm>
          <a:off x="1056057" y="776439"/>
          <a:ext cx="166639" cy="34966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96696"/>
              </a:lnTo>
              <a:lnTo>
                <a:pt x="166639" y="3496696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A22102-93FE-4E5B-9F4D-0CFFFC192D30}">
      <dsp:nvSpPr>
        <dsp:cNvPr id="0" name=""/>
        <dsp:cNvSpPr/>
      </dsp:nvSpPr>
      <dsp:spPr>
        <a:xfrm>
          <a:off x="1222697" y="3884916"/>
          <a:ext cx="1242303" cy="7764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Position stratégique</a:t>
          </a:r>
          <a:endParaRPr lang="fr-FR" sz="1200" kern="1200" dirty="0"/>
        </a:p>
      </dsp:txBody>
      <dsp:txXfrm>
        <a:off x="1245438" y="3907657"/>
        <a:ext cx="1196821" cy="730957"/>
      </dsp:txXfrm>
    </dsp:sp>
    <dsp:sp modelId="{F7D42698-7B38-4169-97D8-7D65DE5AD129}">
      <dsp:nvSpPr>
        <dsp:cNvPr id="0" name=""/>
        <dsp:cNvSpPr/>
      </dsp:nvSpPr>
      <dsp:spPr>
        <a:xfrm>
          <a:off x="2854586" y="0"/>
          <a:ext cx="1552878" cy="77643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/>
            <a:t>OPPORTUNITES</a:t>
          </a:r>
          <a:endParaRPr lang="fr-FR" sz="1600" kern="1200" dirty="0"/>
        </a:p>
      </dsp:txBody>
      <dsp:txXfrm>
        <a:off x="2877327" y="22741"/>
        <a:ext cx="1507396" cy="730957"/>
      </dsp:txXfrm>
    </dsp:sp>
    <dsp:sp modelId="{ECB67C4E-C62A-48AB-9233-C5816B8CBEA4}">
      <dsp:nvSpPr>
        <dsp:cNvPr id="0" name=""/>
        <dsp:cNvSpPr/>
      </dsp:nvSpPr>
      <dsp:spPr>
        <a:xfrm>
          <a:off x="3009874" y="776439"/>
          <a:ext cx="153921" cy="5850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85048"/>
              </a:lnTo>
              <a:lnTo>
                <a:pt x="153921" y="585048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80D719-DF09-4DF3-AA57-735A1B7D49B2}">
      <dsp:nvSpPr>
        <dsp:cNvPr id="0" name=""/>
        <dsp:cNvSpPr/>
      </dsp:nvSpPr>
      <dsp:spPr>
        <a:xfrm>
          <a:off x="3163796" y="973268"/>
          <a:ext cx="1242303" cy="7764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Augmentation sensible du trafic</a:t>
          </a:r>
          <a:endParaRPr lang="fr-FR" sz="1200" kern="1200" dirty="0"/>
        </a:p>
      </dsp:txBody>
      <dsp:txXfrm>
        <a:off x="3186537" y="996009"/>
        <a:ext cx="1196821" cy="730957"/>
      </dsp:txXfrm>
    </dsp:sp>
    <dsp:sp modelId="{90E9D874-C8C3-420E-B6FA-07F9F800CBA4}">
      <dsp:nvSpPr>
        <dsp:cNvPr id="0" name=""/>
        <dsp:cNvSpPr/>
      </dsp:nvSpPr>
      <dsp:spPr>
        <a:xfrm>
          <a:off x="3009874" y="776439"/>
          <a:ext cx="153921" cy="15555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5598"/>
              </a:lnTo>
              <a:lnTo>
                <a:pt x="153921" y="1555598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894903-4779-4EED-8DB3-D7FCBADFF082}">
      <dsp:nvSpPr>
        <dsp:cNvPr id="0" name=""/>
        <dsp:cNvSpPr/>
      </dsp:nvSpPr>
      <dsp:spPr>
        <a:xfrm>
          <a:off x="3163796" y="1943817"/>
          <a:ext cx="1242303" cy="7764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réation d’un hub aérien</a:t>
          </a:r>
          <a:endParaRPr lang="fr-FR" sz="1200" kern="1200" dirty="0"/>
        </a:p>
      </dsp:txBody>
      <dsp:txXfrm>
        <a:off x="3186537" y="1966558"/>
        <a:ext cx="1196821" cy="730957"/>
      </dsp:txXfrm>
    </dsp:sp>
    <dsp:sp modelId="{2EF94B5B-BF58-4DB7-9FA9-5E61F45878B6}">
      <dsp:nvSpPr>
        <dsp:cNvPr id="0" name=""/>
        <dsp:cNvSpPr/>
      </dsp:nvSpPr>
      <dsp:spPr>
        <a:xfrm>
          <a:off x="3009874" y="776439"/>
          <a:ext cx="171562" cy="24898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89872"/>
              </a:lnTo>
              <a:lnTo>
                <a:pt x="171562" y="2489872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0BF81B-FA42-4A34-B8D7-DA0EAA27C2CE}">
      <dsp:nvSpPr>
        <dsp:cNvPr id="0" name=""/>
        <dsp:cNvSpPr/>
      </dsp:nvSpPr>
      <dsp:spPr>
        <a:xfrm>
          <a:off x="3181436" y="2878091"/>
          <a:ext cx="1242303" cy="7764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Pôle économique dynamique</a:t>
          </a:r>
          <a:endParaRPr lang="fr-FR" sz="1200" kern="1200" dirty="0"/>
        </a:p>
      </dsp:txBody>
      <dsp:txXfrm>
        <a:off x="3204177" y="2900832"/>
        <a:ext cx="1196821" cy="730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49475B-60C9-40FB-A71F-EADE6A9362D0}">
      <dsp:nvSpPr>
        <dsp:cNvPr id="0" name=""/>
        <dsp:cNvSpPr/>
      </dsp:nvSpPr>
      <dsp:spPr>
        <a:xfrm>
          <a:off x="674926" y="0"/>
          <a:ext cx="1553207" cy="77660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200" kern="1200" dirty="0" smtClean="0"/>
            <a:t>FAIBLESSES</a:t>
          </a:r>
          <a:endParaRPr lang="fr-FR" sz="2200" kern="1200" dirty="0"/>
        </a:p>
      </dsp:txBody>
      <dsp:txXfrm>
        <a:off x="697672" y="22746"/>
        <a:ext cx="1507715" cy="731111"/>
      </dsp:txXfrm>
    </dsp:sp>
    <dsp:sp modelId="{15720396-0C31-4BB5-BB13-FCF99A511083}">
      <dsp:nvSpPr>
        <dsp:cNvPr id="0" name=""/>
        <dsp:cNvSpPr/>
      </dsp:nvSpPr>
      <dsp:spPr>
        <a:xfrm>
          <a:off x="784527" y="776603"/>
          <a:ext cx="91440" cy="43711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7116"/>
              </a:lnTo>
              <a:lnTo>
                <a:pt x="116362" y="437116"/>
              </a:lnTo>
            </a:path>
          </a:pathLst>
        </a:custGeom>
        <a:noFill/>
        <a:ln w="15875" cap="rnd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981D97-F2D7-4A0A-8758-C7E683B57853}">
      <dsp:nvSpPr>
        <dsp:cNvPr id="0" name=""/>
        <dsp:cNvSpPr/>
      </dsp:nvSpPr>
      <dsp:spPr>
        <a:xfrm>
          <a:off x="900890" y="825418"/>
          <a:ext cx="1242566" cy="7766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Eloignement</a:t>
          </a:r>
          <a:endParaRPr lang="fr-FR" sz="1200" kern="1200" dirty="0"/>
        </a:p>
      </dsp:txBody>
      <dsp:txXfrm>
        <a:off x="923636" y="848164"/>
        <a:ext cx="1197074" cy="731111"/>
      </dsp:txXfrm>
    </dsp:sp>
    <dsp:sp modelId="{2A8D3DE1-9470-402E-B1CE-8CA558C365FC}">
      <dsp:nvSpPr>
        <dsp:cNvPr id="0" name=""/>
        <dsp:cNvSpPr/>
      </dsp:nvSpPr>
      <dsp:spPr>
        <a:xfrm>
          <a:off x="784527" y="776603"/>
          <a:ext cx="91440" cy="139432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94327"/>
              </a:lnTo>
              <a:lnTo>
                <a:pt x="111417" y="1394327"/>
              </a:lnTo>
            </a:path>
          </a:pathLst>
        </a:custGeom>
        <a:noFill/>
        <a:ln w="15875" cap="rnd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FB1287-BB2C-4960-BBF4-435F74D96CF3}">
      <dsp:nvSpPr>
        <dsp:cNvPr id="0" name=""/>
        <dsp:cNvSpPr/>
      </dsp:nvSpPr>
      <dsp:spPr>
        <a:xfrm>
          <a:off x="895944" y="1782629"/>
          <a:ext cx="1242566" cy="7766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ompagnie aérienne en gestation</a:t>
          </a:r>
          <a:endParaRPr lang="fr-FR" sz="1200" kern="1200" dirty="0"/>
        </a:p>
      </dsp:txBody>
      <dsp:txXfrm>
        <a:off x="918690" y="1805375"/>
        <a:ext cx="1197074" cy="731111"/>
      </dsp:txXfrm>
    </dsp:sp>
    <dsp:sp modelId="{95BD03FA-3328-4227-8557-D1859BFC1021}">
      <dsp:nvSpPr>
        <dsp:cNvPr id="0" name=""/>
        <dsp:cNvSpPr/>
      </dsp:nvSpPr>
      <dsp:spPr>
        <a:xfrm>
          <a:off x="784527" y="776603"/>
          <a:ext cx="91440" cy="238063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80637"/>
              </a:lnTo>
              <a:lnTo>
                <a:pt x="116362" y="2380637"/>
              </a:lnTo>
            </a:path>
          </a:pathLst>
        </a:custGeom>
        <a:noFill/>
        <a:ln w="15875" cap="rnd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54A73A-82BA-44C1-9BB0-C0FC83F9D1FC}">
      <dsp:nvSpPr>
        <dsp:cNvPr id="0" name=""/>
        <dsp:cNvSpPr/>
      </dsp:nvSpPr>
      <dsp:spPr>
        <a:xfrm>
          <a:off x="900890" y="2768939"/>
          <a:ext cx="1242566" cy="7766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Phasage du projet</a:t>
          </a:r>
          <a:endParaRPr lang="fr-FR" sz="1200" kern="1200" dirty="0"/>
        </a:p>
      </dsp:txBody>
      <dsp:txXfrm>
        <a:off x="923636" y="2791685"/>
        <a:ext cx="1197074" cy="731111"/>
      </dsp:txXfrm>
    </dsp:sp>
    <dsp:sp modelId="{BB04E664-0013-4E80-92DE-841A5EA8103D}">
      <dsp:nvSpPr>
        <dsp:cNvPr id="0" name=""/>
        <dsp:cNvSpPr/>
      </dsp:nvSpPr>
      <dsp:spPr>
        <a:xfrm>
          <a:off x="2409936" y="0"/>
          <a:ext cx="1581413" cy="77660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200" kern="1200" dirty="0" smtClean="0"/>
            <a:t>MENACES</a:t>
          </a:r>
          <a:endParaRPr lang="fr-FR" sz="2200" kern="1200" dirty="0"/>
        </a:p>
      </dsp:txBody>
      <dsp:txXfrm>
        <a:off x="2432682" y="22746"/>
        <a:ext cx="1535921" cy="731111"/>
      </dsp:txXfrm>
    </dsp:sp>
    <dsp:sp modelId="{5D4143B6-D761-40CE-B9D4-C4A64946CF16}">
      <dsp:nvSpPr>
        <dsp:cNvPr id="0" name=""/>
        <dsp:cNvSpPr/>
      </dsp:nvSpPr>
      <dsp:spPr>
        <a:xfrm>
          <a:off x="2568078" y="776603"/>
          <a:ext cx="138011" cy="4371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7116"/>
              </a:lnTo>
              <a:lnTo>
                <a:pt x="138011" y="437116"/>
              </a:lnTo>
            </a:path>
          </a:pathLst>
        </a:custGeom>
        <a:noFill/>
        <a:ln w="15875" cap="rnd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D1DCE5-82B5-44C3-B01A-DE5A204DF392}">
      <dsp:nvSpPr>
        <dsp:cNvPr id="0" name=""/>
        <dsp:cNvSpPr/>
      </dsp:nvSpPr>
      <dsp:spPr>
        <a:xfrm>
          <a:off x="2706090" y="825418"/>
          <a:ext cx="1337150" cy="7766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Décision politique inappropriée</a:t>
          </a:r>
          <a:endParaRPr lang="fr-FR" sz="1200" kern="1200" dirty="0"/>
        </a:p>
      </dsp:txBody>
      <dsp:txXfrm>
        <a:off x="2728836" y="848164"/>
        <a:ext cx="1291658" cy="731111"/>
      </dsp:txXfrm>
    </dsp:sp>
    <dsp:sp modelId="{B60A617C-BF20-472B-8E26-8EF1F04CB496}">
      <dsp:nvSpPr>
        <dsp:cNvPr id="0" name=""/>
        <dsp:cNvSpPr/>
      </dsp:nvSpPr>
      <dsp:spPr>
        <a:xfrm>
          <a:off x="2568078" y="776603"/>
          <a:ext cx="138011" cy="13728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72885"/>
              </a:lnTo>
              <a:lnTo>
                <a:pt x="138011" y="1372885"/>
              </a:lnTo>
            </a:path>
          </a:pathLst>
        </a:custGeom>
        <a:noFill/>
        <a:ln w="15875" cap="rnd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8CAF1D-11FE-40B1-B810-7748876A841B}">
      <dsp:nvSpPr>
        <dsp:cNvPr id="0" name=""/>
        <dsp:cNvSpPr/>
      </dsp:nvSpPr>
      <dsp:spPr>
        <a:xfrm>
          <a:off x="2706090" y="1761187"/>
          <a:ext cx="1348780" cy="7766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Désaccord entre le partenaire et l’Etat</a:t>
          </a:r>
          <a:endParaRPr lang="fr-FR" sz="1200" kern="1200" dirty="0"/>
        </a:p>
      </dsp:txBody>
      <dsp:txXfrm>
        <a:off x="2728836" y="1783933"/>
        <a:ext cx="1303288" cy="731111"/>
      </dsp:txXfrm>
    </dsp:sp>
    <dsp:sp modelId="{C7970030-166C-4A78-91B1-FA82F12A946A}">
      <dsp:nvSpPr>
        <dsp:cNvPr id="0" name=""/>
        <dsp:cNvSpPr/>
      </dsp:nvSpPr>
      <dsp:spPr>
        <a:xfrm>
          <a:off x="2568078" y="776603"/>
          <a:ext cx="209993" cy="23806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80637"/>
              </a:lnTo>
              <a:lnTo>
                <a:pt x="209993" y="2380637"/>
              </a:lnTo>
            </a:path>
          </a:pathLst>
        </a:custGeom>
        <a:noFill/>
        <a:ln w="15875" cap="rnd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930F84-9C04-4327-92D9-CD461BCFA569}">
      <dsp:nvSpPr>
        <dsp:cNvPr id="0" name=""/>
        <dsp:cNvSpPr/>
      </dsp:nvSpPr>
      <dsp:spPr>
        <a:xfrm>
          <a:off x="2778071" y="2768939"/>
          <a:ext cx="1305390" cy="7766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Baisse du niveau de service</a:t>
          </a:r>
          <a:endParaRPr lang="fr-FR" sz="1200" kern="1200" dirty="0"/>
        </a:p>
      </dsp:txBody>
      <dsp:txXfrm>
        <a:off x="2800817" y="2791685"/>
        <a:ext cx="1259898" cy="731111"/>
      </dsp:txXfrm>
    </dsp:sp>
    <dsp:sp modelId="{EC557CDE-5A02-4B3C-AAF0-2B28E8A68615}">
      <dsp:nvSpPr>
        <dsp:cNvPr id="0" name=""/>
        <dsp:cNvSpPr/>
      </dsp:nvSpPr>
      <dsp:spPr>
        <a:xfrm>
          <a:off x="2568078" y="776603"/>
          <a:ext cx="296252" cy="34969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96943"/>
              </a:lnTo>
              <a:lnTo>
                <a:pt x="296252" y="3496943"/>
              </a:lnTo>
            </a:path>
          </a:pathLst>
        </a:custGeom>
        <a:noFill/>
        <a:ln w="15875" cap="rnd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963C1D-E97F-4381-B5AF-5F70506646FA}">
      <dsp:nvSpPr>
        <dsp:cNvPr id="0" name=""/>
        <dsp:cNvSpPr/>
      </dsp:nvSpPr>
      <dsp:spPr>
        <a:xfrm>
          <a:off x="2864330" y="3885245"/>
          <a:ext cx="1242566" cy="7766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Non respect de l’entretien lourd</a:t>
          </a:r>
          <a:endParaRPr lang="fr-FR" sz="1200" kern="1200" dirty="0"/>
        </a:p>
      </dsp:txBody>
      <dsp:txXfrm>
        <a:off x="2887076" y="3907991"/>
        <a:ext cx="1197074" cy="73111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52D6E6-BE72-4029-8D79-C45463526A86}">
      <dsp:nvSpPr>
        <dsp:cNvPr id="0" name=""/>
        <dsp:cNvSpPr/>
      </dsp:nvSpPr>
      <dsp:spPr>
        <a:xfrm rot="10800000">
          <a:off x="936083" y="495"/>
          <a:ext cx="7488847" cy="813246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8127" tIns="68580" rIns="128016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 Faire du Sénégal une plaque tournante (hub) et une escale technique préférentielle en Afrique de l’ouest pour le trafic aérien;</a:t>
          </a:r>
          <a:endParaRPr lang="fr-FR" sz="1800" kern="1200" dirty="0"/>
        </a:p>
      </dsp:txBody>
      <dsp:txXfrm rot="10800000">
        <a:off x="1139394" y="495"/>
        <a:ext cx="7285536" cy="813246"/>
      </dsp:txXfrm>
    </dsp:sp>
    <dsp:sp modelId="{97E89F74-2A63-41BD-9D5C-6AD216CCA1D6}">
      <dsp:nvSpPr>
        <dsp:cNvPr id="0" name=""/>
        <dsp:cNvSpPr/>
      </dsp:nvSpPr>
      <dsp:spPr>
        <a:xfrm>
          <a:off x="173242" y="79006"/>
          <a:ext cx="789452" cy="789452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A08F02-E357-4943-899E-EDC158C7F6B2}">
      <dsp:nvSpPr>
        <dsp:cNvPr id="0" name=""/>
        <dsp:cNvSpPr/>
      </dsp:nvSpPr>
      <dsp:spPr>
        <a:xfrm rot="10800000">
          <a:off x="936083" y="2022155"/>
          <a:ext cx="7522750" cy="789452"/>
        </a:xfrm>
        <a:prstGeom prst="homePlat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8127" tIns="76200" rIns="14224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 Promouvoir les activités touristiques;</a:t>
          </a:r>
          <a:endParaRPr lang="fr-FR" sz="2000" kern="1200" dirty="0"/>
        </a:p>
      </dsp:txBody>
      <dsp:txXfrm rot="10800000">
        <a:off x="1133446" y="2022155"/>
        <a:ext cx="7325387" cy="789452"/>
      </dsp:txXfrm>
    </dsp:sp>
    <dsp:sp modelId="{4D053CE8-B800-4FD5-8241-15147D905B4E}">
      <dsp:nvSpPr>
        <dsp:cNvPr id="0" name=""/>
        <dsp:cNvSpPr/>
      </dsp:nvSpPr>
      <dsp:spPr>
        <a:xfrm>
          <a:off x="239856" y="2022692"/>
          <a:ext cx="789452" cy="789452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52B212-69AE-4383-BA20-929995972136}">
      <dsp:nvSpPr>
        <dsp:cNvPr id="0" name=""/>
        <dsp:cNvSpPr/>
      </dsp:nvSpPr>
      <dsp:spPr>
        <a:xfrm rot="10800000">
          <a:off x="754729" y="4087700"/>
          <a:ext cx="7742214" cy="1127788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8127" tIns="68580" rIns="128016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Disposer de l’espace nécessaire pour le développement d’activités industrielles liées à l’aéroport (maintenance aéronautique, Fret aérien, zone de libre échange , cité aéroportuaire etc.).</a:t>
          </a:r>
          <a:endParaRPr lang="fr-FR" sz="1800" kern="1200" dirty="0"/>
        </a:p>
      </dsp:txBody>
      <dsp:txXfrm rot="10800000">
        <a:off x="1036676" y="4087700"/>
        <a:ext cx="7460267" cy="1127788"/>
      </dsp:txXfrm>
    </dsp:sp>
    <dsp:sp modelId="{862CFEF9-2597-4241-B9D0-1764ED4A38A8}">
      <dsp:nvSpPr>
        <dsp:cNvPr id="0" name=""/>
        <dsp:cNvSpPr/>
      </dsp:nvSpPr>
      <dsp:spPr>
        <a:xfrm>
          <a:off x="226207" y="1069327"/>
          <a:ext cx="789452" cy="789452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8B9385-535D-44C5-866D-02D7D6E4EEAE}">
      <dsp:nvSpPr>
        <dsp:cNvPr id="0" name=""/>
        <dsp:cNvSpPr/>
      </dsp:nvSpPr>
      <dsp:spPr>
        <a:xfrm rot="10800000">
          <a:off x="964787" y="3041050"/>
          <a:ext cx="7522637" cy="789452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8127" tIns="68580" rIns="128016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Développer les exportations et jouer un rôle de moteur économique dans l’espace régional;</a:t>
          </a:r>
          <a:endParaRPr lang="fr-FR" sz="1800" kern="1200" dirty="0"/>
        </a:p>
      </dsp:txBody>
      <dsp:txXfrm rot="10800000">
        <a:off x="1162150" y="3041050"/>
        <a:ext cx="7325274" cy="789452"/>
      </dsp:txXfrm>
    </dsp:sp>
    <dsp:sp modelId="{5C48090E-C64C-4266-92E0-3D1BCC3FD32E}">
      <dsp:nvSpPr>
        <dsp:cNvPr id="0" name=""/>
        <dsp:cNvSpPr/>
      </dsp:nvSpPr>
      <dsp:spPr>
        <a:xfrm>
          <a:off x="217302" y="3074542"/>
          <a:ext cx="889570" cy="759271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FF6675-F4C8-41DE-A4D5-911415971834}">
      <dsp:nvSpPr>
        <dsp:cNvPr id="0" name=""/>
        <dsp:cNvSpPr/>
      </dsp:nvSpPr>
      <dsp:spPr>
        <a:xfrm rot="10800000">
          <a:off x="906757" y="1080427"/>
          <a:ext cx="7454944" cy="822506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8127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/>
            <a:t>Contribuer à améliorer l’aménagement du territoire en décongestionnant Dakar et en favorisant l’émergence d’un deuxième pôle économique à l’extérieur de Dakar;</a:t>
          </a:r>
          <a:endParaRPr lang="fr-FR" sz="1600" kern="1200" dirty="0"/>
        </a:p>
      </dsp:txBody>
      <dsp:txXfrm rot="10800000">
        <a:off x="1112383" y="1080427"/>
        <a:ext cx="7249318" cy="822506"/>
      </dsp:txXfrm>
    </dsp:sp>
    <dsp:sp modelId="{5906EC76-5DED-49F4-BB2F-45F6AB816BED}">
      <dsp:nvSpPr>
        <dsp:cNvPr id="0" name=""/>
        <dsp:cNvSpPr/>
      </dsp:nvSpPr>
      <dsp:spPr>
        <a:xfrm>
          <a:off x="173179" y="4278944"/>
          <a:ext cx="835619" cy="789452"/>
        </a:xfrm>
        <a:prstGeom prst="ellipse">
          <a:avLst/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B92F0D-762F-42CE-895D-63D632DB5D6B}">
      <dsp:nvSpPr>
        <dsp:cNvPr id="0" name=""/>
        <dsp:cNvSpPr/>
      </dsp:nvSpPr>
      <dsp:spPr>
        <a:xfrm>
          <a:off x="0" y="0"/>
          <a:ext cx="8424936" cy="2138637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DAB842-88B0-4BC4-923D-7237B6626B99}">
      <dsp:nvSpPr>
        <dsp:cNvPr id="0" name=""/>
        <dsp:cNvSpPr/>
      </dsp:nvSpPr>
      <dsp:spPr>
        <a:xfrm>
          <a:off x="72006" y="155545"/>
          <a:ext cx="2525978" cy="157264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3EB38A-D7BC-4595-A245-8A54D30596C9}">
      <dsp:nvSpPr>
        <dsp:cNvPr id="0" name=""/>
        <dsp:cNvSpPr/>
      </dsp:nvSpPr>
      <dsp:spPr>
        <a:xfrm rot="10800000">
          <a:off x="133009" y="1910582"/>
          <a:ext cx="2404913" cy="2835679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/>
            <a:t>-Piste de 3 500 ml x 75 ml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/>
            <a:t>- Orientation Nord/Sud: 01/19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/>
            <a:t>- Tout type y/c A380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/>
            <a:t>-63 cm d’épaisseur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/>
            <a:t>-Balisage lumineux axial et de bordure                                                                                                                              </a:t>
          </a:r>
        </a:p>
      </dsp:txBody>
      <dsp:txXfrm rot="10800000">
        <a:off x="206968" y="1910582"/>
        <a:ext cx="2256995" cy="2761720"/>
      </dsp:txXfrm>
    </dsp:sp>
    <dsp:sp modelId="{FC865BD5-3348-43A2-9804-D5004C138C11}">
      <dsp:nvSpPr>
        <dsp:cNvPr id="0" name=""/>
        <dsp:cNvSpPr/>
      </dsp:nvSpPr>
      <dsp:spPr>
        <a:xfrm>
          <a:off x="2839158" y="144023"/>
          <a:ext cx="2561440" cy="156833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DF7075-FB6F-477F-AA44-C5ADAC9E0AC3}">
      <dsp:nvSpPr>
        <dsp:cNvPr id="0" name=""/>
        <dsp:cNvSpPr/>
      </dsp:nvSpPr>
      <dsp:spPr>
        <a:xfrm rot="10800000">
          <a:off x="2890619" y="1872197"/>
          <a:ext cx="2629803" cy="2798614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0" kern="1200" dirty="0" smtClean="0"/>
            <a:t>- 14 km de Taxiway largeur 60 m avec balisage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0" kern="1200" dirty="0" smtClean="0"/>
            <a:t>-1 parallèle à la piste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0" kern="1200" dirty="0" smtClean="0"/>
            <a:t>-2 sorties rapides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0" kern="1200" dirty="0" smtClean="0"/>
            <a:t>-4 entrées/sorties au seuil de piste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0" kern="1200" dirty="0" smtClean="0"/>
            <a:t>-6 taxiway de jonction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0" kern="1200" dirty="0" smtClean="0"/>
            <a:t>-1 </a:t>
          </a:r>
          <a:r>
            <a:rPr lang="fr-FR" sz="1400" b="0" kern="1200" dirty="0" err="1" smtClean="0"/>
            <a:t>tax</a:t>
          </a:r>
          <a:r>
            <a:rPr lang="fr-FR" sz="1400" b="0" kern="1200" dirty="0" smtClean="0"/>
            <a:t> // parkings et autres spéciaux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solidFill>
                <a:schemeClr val="tx1"/>
              </a:solidFill>
            </a:rPr>
            <a:t>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400" b="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0" kern="1200" dirty="0" smtClean="0"/>
            <a:t> </a:t>
          </a:r>
          <a:endParaRPr lang="fr-FR" sz="1400" b="0" kern="1200" dirty="0"/>
        </a:p>
      </dsp:txBody>
      <dsp:txXfrm rot="10800000">
        <a:off x="2971495" y="1872197"/>
        <a:ext cx="2468051" cy="2717738"/>
      </dsp:txXfrm>
    </dsp:sp>
    <dsp:sp modelId="{BBC4C3AA-98A3-455D-9DF8-1737C8F939CA}">
      <dsp:nvSpPr>
        <dsp:cNvPr id="0" name=""/>
        <dsp:cNvSpPr/>
      </dsp:nvSpPr>
      <dsp:spPr>
        <a:xfrm>
          <a:off x="5636787" y="144022"/>
          <a:ext cx="2428110" cy="156833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275A65-C56F-46B7-89F5-17CE5C97E8D3}">
      <dsp:nvSpPr>
        <dsp:cNvPr id="0" name=""/>
        <dsp:cNvSpPr/>
      </dsp:nvSpPr>
      <dsp:spPr>
        <a:xfrm rot="10800000">
          <a:off x="5584497" y="1872203"/>
          <a:ext cx="2553649" cy="2922329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>
              <a:solidFill>
                <a:srgbClr val="FFFFFF"/>
              </a:solidFill>
            </a:rPr>
            <a:t>Parkings avions de 79 postes dont 22 gros porteur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600" kern="1200" dirty="0" smtClean="0">
            <a:solidFill>
              <a:srgbClr val="FFFFFF"/>
            </a:solidFill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>
              <a:solidFill>
                <a:srgbClr val="FFFFFF"/>
              </a:solidFill>
            </a:rPr>
            <a:t>-</a:t>
          </a:r>
          <a:r>
            <a:rPr lang="fr-FR" sz="1600" b="1" kern="1200" dirty="0" smtClean="0">
              <a:solidFill>
                <a:schemeClr val="tx1"/>
              </a:solidFill>
            </a:rPr>
            <a:t>260 000 m2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solidFill>
                <a:schemeClr val="tx1"/>
              </a:solidFill>
            </a:rPr>
            <a:t> </a:t>
          </a:r>
          <a:endParaRPr lang="fr-FR" sz="1600" b="1" kern="1200" dirty="0">
            <a:solidFill>
              <a:schemeClr val="tx1"/>
            </a:solidFill>
          </a:endParaRPr>
        </a:p>
      </dsp:txBody>
      <dsp:txXfrm rot="10800000">
        <a:off x="5663031" y="1872203"/>
        <a:ext cx="2396581" cy="284379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495F60-29B0-8348-9A13-9B59F356E1C0}">
      <dsp:nvSpPr>
        <dsp:cNvPr id="0" name=""/>
        <dsp:cNvSpPr/>
      </dsp:nvSpPr>
      <dsp:spPr>
        <a:xfrm>
          <a:off x="288020" y="0"/>
          <a:ext cx="5951636" cy="4595426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solidFill>
            <a:schemeClr val="accent1"/>
          </a:solidFill>
        </a:ln>
        <a:effectLst>
          <a:outerShdw blurRad="38100" dist="25400" dir="5400000" rotWithShape="0">
            <a:srgbClr val="000000">
              <a:alpha val="2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60C2BEA-EA09-6246-A945-24B385D1699C}">
      <dsp:nvSpPr>
        <dsp:cNvPr id="0" name=""/>
        <dsp:cNvSpPr/>
      </dsp:nvSpPr>
      <dsp:spPr>
        <a:xfrm rot="10800000" flipV="1">
          <a:off x="288046" y="12"/>
          <a:ext cx="3472210" cy="103078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Parkings avion : APRON</a:t>
          </a:r>
          <a:endParaRPr lang="fr-FR" sz="1400" kern="1200" dirty="0"/>
        </a:p>
      </dsp:txBody>
      <dsp:txXfrm rot="-10800000">
        <a:off x="288046" y="12"/>
        <a:ext cx="3472210" cy="103078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B92F0D-762F-42CE-895D-63D632DB5D6B}">
      <dsp:nvSpPr>
        <dsp:cNvPr id="0" name=""/>
        <dsp:cNvSpPr/>
      </dsp:nvSpPr>
      <dsp:spPr>
        <a:xfrm>
          <a:off x="0" y="0"/>
          <a:ext cx="8424936" cy="2138637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DAB842-88B0-4BC4-923D-7237B6626B99}">
      <dsp:nvSpPr>
        <dsp:cNvPr id="0" name=""/>
        <dsp:cNvSpPr/>
      </dsp:nvSpPr>
      <dsp:spPr>
        <a:xfrm>
          <a:off x="252748" y="285151"/>
          <a:ext cx="2474824" cy="156833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3EB38A-D7BC-4595-A245-8A54D30596C9}">
      <dsp:nvSpPr>
        <dsp:cNvPr id="0" name=""/>
        <dsp:cNvSpPr/>
      </dsp:nvSpPr>
      <dsp:spPr>
        <a:xfrm rot="10800000">
          <a:off x="252748" y="2138637"/>
          <a:ext cx="2474824" cy="2613890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-</a:t>
          </a:r>
          <a:r>
            <a:rPr lang="fr-FR" sz="1400" kern="1200" dirty="0" smtClean="0"/>
            <a:t>11 km de routes de service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- 12 km de routes d’accè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- 27 km de routes de sécurité (périphériques) </a:t>
          </a:r>
          <a:endParaRPr lang="fr-FR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solidFill>
                <a:srgbClr val="002060"/>
              </a:solidFill>
            </a:rPr>
            <a:t>Total : 50 km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200" kern="1200" dirty="0"/>
        </a:p>
      </dsp:txBody>
      <dsp:txXfrm rot="10800000">
        <a:off x="328857" y="2138637"/>
        <a:ext cx="2322606" cy="2537781"/>
      </dsp:txXfrm>
    </dsp:sp>
    <dsp:sp modelId="{FC865BD5-3348-43A2-9804-D5004C138C11}">
      <dsp:nvSpPr>
        <dsp:cNvPr id="0" name=""/>
        <dsp:cNvSpPr/>
      </dsp:nvSpPr>
      <dsp:spPr>
        <a:xfrm>
          <a:off x="2975055" y="285151"/>
          <a:ext cx="2474824" cy="156833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DF7075-FB6F-477F-AA44-C5ADAC9E0AC3}">
      <dsp:nvSpPr>
        <dsp:cNvPr id="0" name=""/>
        <dsp:cNvSpPr/>
      </dsp:nvSpPr>
      <dsp:spPr>
        <a:xfrm rot="10800000">
          <a:off x="2975055" y="2138637"/>
          <a:ext cx="2474824" cy="2613890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Parkings de Voitures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Le parking commercial de surface 90 400m2 et une capacité de 830 postes (700 </a:t>
          </a:r>
          <a:r>
            <a:rPr lang="fr-FR" sz="1200" kern="1200" dirty="0" err="1" smtClean="0"/>
            <a:t>vp</a:t>
          </a:r>
          <a:r>
            <a:rPr lang="fr-FR" sz="1200" kern="1200" dirty="0" smtClean="0"/>
            <a:t>, 70 B, 60 taxis)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haque bâtiment a un parking réservé au personnel.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200" kern="1200" dirty="0"/>
        </a:p>
      </dsp:txBody>
      <dsp:txXfrm rot="10800000">
        <a:off x="3051164" y="2138637"/>
        <a:ext cx="2322606" cy="2537781"/>
      </dsp:txXfrm>
    </dsp:sp>
    <dsp:sp modelId="{BBC4C3AA-98A3-455D-9DF8-1737C8F939CA}">
      <dsp:nvSpPr>
        <dsp:cNvPr id="0" name=""/>
        <dsp:cNvSpPr/>
      </dsp:nvSpPr>
      <dsp:spPr>
        <a:xfrm>
          <a:off x="5697362" y="285151"/>
          <a:ext cx="2474824" cy="156833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275A65-C56F-46B7-89F5-17CE5C97E8D3}">
      <dsp:nvSpPr>
        <dsp:cNvPr id="0" name=""/>
        <dsp:cNvSpPr/>
      </dsp:nvSpPr>
      <dsp:spPr>
        <a:xfrm rot="10800000">
          <a:off x="5697362" y="2138637"/>
          <a:ext cx="2474824" cy="2613890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/>
            <a:t>Clôture de sécurité de 13 km selon spécifications OACI.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300" kern="1200" dirty="0" smtClean="0"/>
        </a:p>
      </dsp:txBody>
      <dsp:txXfrm rot="10800000">
        <a:off x="5773471" y="2138637"/>
        <a:ext cx="2322606" cy="253778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F4E820-0648-8B41-96FA-13981E3ACA87}">
      <dsp:nvSpPr>
        <dsp:cNvPr id="0" name=""/>
        <dsp:cNvSpPr/>
      </dsp:nvSpPr>
      <dsp:spPr>
        <a:xfrm>
          <a:off x="0" y="72004"/>
          <a:ext cx="5047196" cy="4956323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D8130F3-58D1-1B4D-A074-B833DBC2927C}">
      <dsp:nvSpPr>
        <dsp:cNvPr id="0" name=""/>
        <dsp:cNvSpPr/>
      </dsp:nvSpPr>
      <dsp:spPr>
        <a:xfrm>
          <a:off x="5112570" y="72009"/>
          <a:ext cx="3062226" cy="82833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kern="1200" dirty="0" smtClean="0"/>
            <a:t>Tour de Contrôle</a:t>
          </a:r>
          <a:endParaRPr lang="fr-FR" sz="2700" kern="1200" dirty="0"/>
        </a:p>
      </dsp:txBody>
      <dsp:txXfrm>
        <a:off x="5112570" y="72009"/>
        <a:ext cx="3062226" cy="82833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495F60-29B0-8348-9A13-9B59F356E1C0}">
      <dsp:nvSpPr>
        <dsp:cNvPr id="0" name=""/>
        <dsp:cNvSpPr/>
      </dsp:nvSpPr>
      <dsp:spPr>
        <a:xfrm>
          <a:off x="0" y="133856"/>
          <a:ext cx="6106831" cy="4760008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60C2BEA-EA09-6246-A945-24B385D1699C}">
      <dsp:nvSpPr>
        <dsp:cNvPr id="0" name=""/>
        <dsp:cNvSpPr/>
      </dsp:nvSpPr>
      <dsp:spPr>
        <a:xfrm rot="10800000" flipV="1">
          <a:off x="5478424" y="71999"/>
          <a:ext cx="3018519" cy="49685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PAVILLON PRESIDENTIEL</a:t>
          </a:r>
          <a:endParaRPr lang="fr-FR" sz="1800" kern="1200" dirty="0"/>
        </a:p>
      </dsp:txBody>
      <dsp:txXfrm rot="-10800000">
        <a:off x="5478424" y="71999"/>
        <a:ext cx="3018519" cy="49685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E36C2B-9305-4E87-AD52-23718D96A3F1}">
      <dsp:nvSpPr>
        <dsp:cNvPr id="0" name=""/>
        <dsp:cNvSpPr/>
      </dsp:nvSpPr>
      <dsp:spPr>
        <a:xfrm>
          <a:off x="2893391" y="-12243"/>
          <a:ext cx="1891814" cy="1658366"/>
        </a:xfrm>
        <a:prstGeom prst="ellipse">
          <a:avLst/>
        </a:prstGeom>
        <a:solidFill>
          <a:srgbClr val="00B050"/>
        </a:solidFill>
        <a:ln w="38100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AEROPORT MODERNE</a:t>
          </a:r>
          <a:endParaRPr lang="fr-FR" sz="1800" kern="1200" dirty="0"/>
        </a:p>
      </dsp:txBody>
      <dsp:txXfrm>
        <a:off x="3170441" y="230619"/>
        <a:ext cx="1337714" cy="1172642"/>
      </dsp:txXfrm>
    </dsp:sp>
    <dsp:sp modelId="{0C1F628D-BEBC-48CA-A155-BFA65A830BBD}">
      <dsp:nvSpPr>
        <dsp:cNvPr id="0" name=""/>
        <dsp:cNvSpPr/>
      </dsp:nvSpPr>
      <dsp:spPr>
        <a:xfrm rot="2376425">
          <a:off x="4696296" y="1251378"/>
          <a:ext cx="601168" cy="55969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300" kern="1200"/>
        </a:p>
      </dsp:txBody>
      <dsp:txXfrm>
        <a:off x="4715569" y="1309795"/>
        <a:ext cx="433259" cy="335818"/>
      </dsp:txXfrm>
    </dsp:sp>
    <dsp:sp modelId="{7FE3F2DE-C02C-4521-96FF-06581F71AEB2}">
      <dsp:nvSpPr>
        <dsp:cNvPr id="0" name=""/>
        <dsp:cNvSpPr/>
      </dsp:nvSpPr>
      <dsp:spPr>
        <a:xfrm>
          <a:off x="4824274" y="1583210"/>
          <a:ext cx="1886225" cy="165836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PAVILLON NATIONAL FORT</a:t>
          </a:r>
          <a:endParaRPr lang="fr-FR" sz="1800" kern="1200" dirty="0"/>
        </a:p>
      </dsp:txBody>
      <dsp:txXfrm>
        <a:off x="5100505" y="1826072"/>
        <a:ext cx="1333763" cy="1172642"/>
      </dsp:txXfrm>
    </dsp:sp>
    <dsp:sp modelId="{09B48236-5CF7-4588-BA3D-53763EE034A5}">
      <dsp:nvSpPr>
        <dsp:cNvPr id="0" name=""/>
        <dsp:cNvSpPr/>
      </dsp:nvSpPr>
      <dsp:spPr>
        <a:xfrm rot="8041320">
          <a:off x="4641129" y="3150579"/>
          <a:ext cx="620824" cy="55969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300" kern="1200"/>
        </a:p>
      </dsp:txBody>
      <dsp:txXfrm rot="10800000">
        <a:off x="4783426" y="3202150"/>
        <a:ext cx="452915" cy="335818"/>
      </dsp:txXfrm>
    </dsp:sp>
    <dsp:sp modelId="{09CC633D-A968-4FD7-8473-BD2580F4158F}">
      <dsp:nvSpPr>
        <dsp:cNvPr id="0" name=""/>
        <dsp:cNvSpPr/>
      </dsp:nvSpPr>
      <dsp:spPr>
        <a:xfrm>
          <a:off x="2712987" y="3484789"/>
          <a:ext cx="2381446" cy="1712030"/>
        </a:xfrm>
        <a:prstGeom prst="ellipse">
          <a:avLst/>
        </a:prstGeom>
        <a:solidFill>
          <a:srgbClr val="FF0000"/>
        </a:solidFill>
        <a:ln w="38100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CENTRE DE MAINTENANCE</a:t>
          </a:r>
          <a:endParaRPr lang="fr-FR" sz="2000" kern="1200" dirty="0"/>
        </a:p>
      </dsp:txBody>
      <dsp:txXfrm>
        <a:off x="3061742" y="3735510"/>
        <a:ext cx="1683936" cy="1210588"/>
      </dsp:txXfrm>
    </dsp:sp>
    <dsp:sp modelId="{FC230100-1502-4DC9-BC04-44568FA20D07}">
      <dsp:nvSpPr>
        <dsp:cNvPr id="0" name=""/>
        <dsp:cNvSpPr/>
      </dsp:nvSpPr>
      <dsp:spPr>
        <a:xfrm rot="13266805">
          <a:off x="2395414" y="3236250"/>
          <a:ext cx="631819" cy="55969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300" kern="1200"/>
        </a:p>
      </dsp:txBody>
      <dsp:txXfrm rot="10800000">
        <a:off x="2542621" y="3403394"/>
        <a:ext cx="463910" cy="335818"/>
      </dsp:txXfrm>
    </dsp:sp>
    <dsp:sp modelId="{4B2C3FBE-3440-411F-BB1C-EB5E5B4F99A5}">
      <dsp:nvSpPr>
        <dsp:cNvPr id="0" name=""/>
        <dsp:cNvSpPr/>
      </dsp:nvSpPr>
      <dsp:spPr>
        <a:xfrm>
          <a:off x="868470" y="1674678"/>
          <a:ext cx="1861018" cy="1658366"/>
        </a:xfrm>
        <a:prstGeom prst="ellipse">
          <a:avLst/>
        </a:prstGeom>
        <a:solidFill>
          <a:srgbClr val="92D050"/>
        </a:solidFill>
        <a:ln w="38100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/>
            <a:t>INSTITUT DE FORMATION</a:t>
          </a:r>
          <a:endParaRPr lang="fr-FR" sz="1600" kern="1200" dirty="0"/>
        </a:p>
      </dsp:txBody>
      <dsp:txXfrm>
        <a:off x="1141010" y="1917540"/>
        <a:ext cx="1315938" cy="1172642"/>
      </dsp:txXfrm>
    </dsp:sp>
    <dsp:sp modelId="{F7070DE2-60A3-4948-9524-2DE5AB2C7B40}">
      <dsp:nvSpPr>
        <dsp:cNvPr id="0" name=""/>
        <dsp:cNvSpPr/>
      </dsp:nvSpPr>
      <dsp:spPr>
        <a:xfrm rot="19224977">
          <a:off x="2448915" y="1266242"/>
          <a:ext cx="669125" cy="55969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300" kern="1200"/>
        </a:p>
      </dsp:txBody>
      <dsp:txXfrm>
        <a:off x="2468166" y="1431678"/>
        <a:ext cx="501216" cy="3358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List2#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5A088-A590-42E0-87DA-40855B0B3629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C49FE0-4C1F-46E2-9287-8108A6A251A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2828605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Shape 187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88" name="Shape 188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362039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707FD3-285A-475D-85C6-47953E169EC4}" type="slidenum">
              <a:rPr lang="fr-FR" smtClean="0"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</a:t>
            </a:fld>
            <a:endParaRPr lang="fr-FR" smtClean="0">
              <a:latin typeface="Arial" pitchFamily="34" charset="0"/>
            </a:endParaRPr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68251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4" name="Espace réservé du numéro de diapositiv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2EE898E-858D-4525-848B-B259C8EEB13A}" type="slidenum">
              <a:rPr lang="fr-F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3</a:t>
            </a:fld>
            <a:endParaRPr lang="fr-FR" smtClean="0"/>
          </a:p>
        </p:txBody>
      </p:sp>
      <p:sp>
        <p:nvSpPr>
          <p:cNvPr id="5427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  <p:sp>
        <p:nvSpPr>
          <p:cNvPr id="54277" name="Slide Number Placeholder 3"/>
          <p:cNvSpPr txBox="1">
            <a:spLocks noGrp="1"/>
          </p:cNvSpPr>
          <p:nvPr/>
        </p:nvSpPr>
        <p:spPr bwMode="auto">
          <a:xfrm>
            <a:off x="3890964" y="9491663"/>
            <a:ext cx="297497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869" tIns="46435" rIns="92869" bIns="46435" anchor="b"/>
          <a:lstStyle/>
          <a:p>
            <a:pPr algn="r"/>
            <a:fld id="{57514991-1FE0-49DA-B37B-3B5A14BE8465}" type="slidenum">
              <a:rPr lang="en-US" sz="1200">
                <a:latin typeface="Calibri" pitchFamily="34" charset="0"/>
              </a:rPr>
              <a:pPr algn="r"/>
              <a:t>33</a:t>
            </a:fld>
            <a:endParaRPr lang="en-US" sz="12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70011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Shape 263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64" name="Shape 26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497809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" name="Shape 689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690" name="Shape 690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122294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" name="Shape 741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42" name="Shape 742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320136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" name="Shape 772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73" name="Shape 77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8298256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" name="Shape 772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73" name="Shape 77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061683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" name="Shape 772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73" name="Shape 77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61380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" name="Shape 772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73" name="Shape 77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094420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Shape 983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984" name="Shape 98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817061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Shape 263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64" name="Shape 26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352632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Shape 263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64" name="Shape 26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4032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Shape 263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64" name="Shape 26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987260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/>
          </a:p>
        </p:txBody>
      </p:sp>
      <p:sp>
        <p:nvSpPr>
          <p:cNvPr id="129028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618A500-E778-43E4-B98D-9B90D891F459}" type="slidenum">
              <a:rPr lang="fr-F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516345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188" y="749300"/>
            <a:ext cx="6662737" cy="37480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>
              <a:ea typeface="MS PGothic" pitchFamily="34" charset="-128"/>
            </a:endParaRPr>
          </a:p>
        </p:txBody>
      </p:sp>
      <p:sp>
        <p:nvSpPr>
          <p:cNvPr id="39940" name="Slide Number Placeholder 3"/>
          <p:cNvSpPr txBox="1">
            <a:spLocks noGrp="1"/>
          </p:cNvSpPr>
          <p:nvPr/>
        </p:nvSpPr>
        <p:spPr bwMode="auto">
          <a:xfrm>
            <a:off x="3887789" y="9491664"/>
            <a:ext cx="2978150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039" tIns="48020" rIns="96039" bIns="48020" anchor="b"/>
          <a:lstStyle/>
          <a:p>
            <a:pPr algn="r"/>
            <a:fld id="{3FFC7758-C435-4FC4-A503-BA314A93AB2A}" type="slidenum">
              <a:rPr lang="en-US" sz="1300">
                <a:latin typeface="Calibri" pitchFamily="34" charset="0"/>
              </a:rPr>
              <a:pPr algn="r"/>
              <a:t>9</a:t>
            </a:fld>
            <a:endParaRPr lang="en-US" sz="13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8591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/>
          </a:p>
        </p:txBody>
      </p:sp>
      <p:sp>
        <p:nvSpPr>
          <p:cNvPr id="12186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20DFE38-3F5D-407D-9B85-5AE205D69EFF}" type="slidenum">
              <a:rPr lang="fr-F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7235636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ar-EG" altLang="fr-FR" smtClean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A537BBFD-21A5-41D7-9945-BD0E22AF955C}" type="slidenum">
              <a:rPr lang="en-US" altLang="fr-FR">
                <a:latin typeface="Calibri" panose="020F0502020204030204" pitchFamily="34" charset="0"/>
              </a:rPr>
              <a:pPr eaLnBrk="1" hangingPunct="1"/>
              <a:t>12</a:t>
            </a:fld>
            <a:endParaRPr lang="en-US" altLang="fr-FR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46044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 txBox="1">
            <a:spLocks noGrp="1" noChangeArrowheads="1"/>
          </p:cNvSpPr>
          <p:nvPr/>
        </p:nvSpPr>
        <p:spPr bwMode="auto">
          <a:xfrm>
            <a:off x="3887788" y="9491663"/>
            <a:ext cx="2978150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039" tIns="48020" rIns="96039" bIns="48020" anchor="b"/>
          <a:lstStyle/>
          <a:p>
            <a:pPr algn="r" defTabSz="958850"/>
            <a:fld id="{96EF87A5-1DB6-439D-99C5-109283F917E7}" type="slidenum">
              <a:rPr lang="fr-FR" sz="1300">
                <a:latin typeface="Calibri" pitchFamily="34" charset="0"/>
              </a:rPr>
              <a:pPr algn="r" defTabSz="958850"/>
              <a:t>26</a:t>
            </a:fld>
            <a:endParaRPr lang="fr-FR" sz="1300">
              <a:latin typeface="Calibri" pitchFamily="34" charset="0"/>
            </a:endParaRPr>
          </a:p>
        </p:txBody>
      </p:sp>
      <p:sp>
        <p:nvSpPr>
          <p:cNvPr id="4813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6026" tIns="48012" rIns="96026" bIns="48012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>
              <a:ea typeface="MS PGothic" pitchFamily="34" charset="-128"/>
            </a:endParaRPr>
          </a:p>
        </p:txBody>
      </p:sp>
      <p:sp>
        <p:nvSpPr>
          <p:cNvPr id="48133" name="Slide Number Placeholder 3"/>
          <p:cNvSpPr txBox="1">
            <a:spLocks noGrp="1"/>
          </p:cNvSpPr>
          <p:nvPr/>
        </p:nvSpPr>
        <p:spPr bwMode="auto">
          <a:xfrm>
            <a:off x="3887788" y="9491663"/>
            <a:ext cx="2978150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026" tIns="48012" rIns="96026" bIns="48012" anchor="b"/>
          <a:lstStyle/>
          <a:p>
            <a:pPr algn="r"/>
            <a:fld id="{DFABD93C-E236-42F0-8568-A1ABD0A80829}" type="slidenum">
              <a:rPr lang="en-US" sz="1300">
                <a:latin typeface="Calibri" pitchFamily="34" charset="0"/>
              </a:rPr>
              <a:pPr algn="r"/>
              <a:t>26</a:t>
            </a:fld>
            <a:endParaRPr lang="en-US" sz="13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24509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1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fr-FR" smtClean="0"/>
          </a:p>
        </p:txBody>
      </p:sp>
      <p:sp>
        <p:nvSpPr>
          <p:cNvPr id="12292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CFD2D53-CAEF-43B7-8AA8-D85A7EC31CD5}" type="slidenum">
              <a:rPr lang="fr-FR" smtClean="0"/>
              <a:pPr/>
              <a:t>30</a:t>
            </a:fld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919500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96898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800864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ion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228054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057048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1646789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rai ou f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7426571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8818511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667670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609600" y="1600203"/>
            <a:ext cx="10972800" cy="4525963"/>
          </a:xfrm>
        </p:spPr>
        <p:txBody>
          <a:bodyPr rtlCol="0">
            <a:normAutofit/>
          </a:bodyPr>
          <a:lstStyle/>
          <a:p>
            <a:pPr lvl="0"/>
            <a:endParaRPr lang="fr-FR" noProof="0" smtClean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C5F907-8DE7-4481-BE7E-E87E91D614BF}" type="datetime1">
              <a:rPr lang="fr-FR" smtClean="0"/>
              <a:t>29/03/2017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2D0B25-C673-4E76-95CE-8D3497B5F46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01282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re et 4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sz="quarter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"/>
          </p:nvPr>
        </p:nvSpPr>
        <p:spPr>
          <a:xfrm>
            <a:off x="609600" y="1600200"/>
            <a:ext cx="5384800" cy="2185988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6197600" y="1600200"/>
            <a:ext cx="5384800" cy="2185988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609600" y="3938589"/>
            <a:ext cx="5384800" cy="2187575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7600" y="3938589"/>
            <a:ext cx="5384800" cy="2187575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0C28B83-B091-4EF1-AB0B-2858006250C0}" type="datetime1">
              <a:rPr lang="fr-FR" smtClean="0"/>
              <a:t>29/03/2017</a:t>
            </a:fld>
            <a:endParaRPr lang="fr-F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3F5CB7D2-70E2-4548-97C3-D5A8148923F2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7733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4254181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52466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04811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209916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810571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053912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212429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6035229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559F51-0053-4376-A6B0-B1DAB7BC47D4}" type="datetimeFigureOut">
              <a:rPr lang="fr-CA" smtClean="0"/>
              <a:t>2017-03-29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7DF0F0B2-4146-4B9F-93B7-361F5D2723E1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83028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emf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3.jpg"/><Relationship Id="rId4" Type="http://schemas.openxmlformats.org/officeDocument/2006/relationships/image" Target="../media/image10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3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g"/><Relationship Id="rId5" Type="http://schemas.openxmlformats.org/officeDocument/2006/relationships/image" Target="../media/image109.png"/><Relationship Id="rId4" Type="http://schemas.openxmlformats.org/officeDocument/2006/relationships/slide" Target="slide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" Target="slide13.xml"/><Relationship Id="rId7" Type="http://schemas.openxmlformats.org/officeDocument/2006/relationships/image" Target="../media/image3.jpg"/><Relationship Id="rId2" Type="http://schemas.openxmlformats.org/officeDocument/2006/relationships/image" Target="../media/image108.emf"/><Relationship Id="rId1" Type="http://schemas.openxmlformats.org/officeDocument/2006/relationships/slideLayout" Target="../slideLayouts/slideLayout2.xml"/><Relationship Id="rId6" Type="http://schemas.openxmlformats.org/officeDocument/2006/relationships/slide" Target="slide29.xml"/><Relationship Id="rId5" Type="http://schemas.openxmlformats.org/officeDocument/2006/relationships/slide" Target="slide31.xml"/><Relationship Id="rId4" Type="http://schemas.openxmlformats.org/officeDocument/2006/relationships/slide" Target="slide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1.png"/><Relationship Id="rId7" Type="http://schemas.openxmlformats.org/officeDocument/2006/relationships/image" Target="../media/image3.jp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Layout" Target="../diagrams/layout5.xml"/><Relationship Id="rId7" Type="http://schemas.openxmlformats.org/officeDocument/2006/relationships/image" Target="../media/image3.jp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3.jp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7" Type="http://schemas.openxmlformats.org/officeDocument/2006/relationships/image" Target="../media/image15.png"/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g"/><Relationship Id="rId5" Type="http://schemas.openxmlformats.org/officeDocument/2006/relationships/image" Target="../media/image126.jpeg"/><Relationship Id="rId4" Type="http://schemas.openxmlformats.org/officeDocument/2006/relationships/image" Target="../media/image12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jpeg"/><Relationship Id="rId7" Type="http://schemas.openxmlformats.org/officeDocument/2006/relationships/image" Target="../media/image15.png"/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g"/><Relationship Id="rId5" Type="http://schemas.openxmlformats.org/officeDocument/2006/relationships/image" Target="../media/image130.jpeg"/><Relationship Id="rId4" Type="http://schemas.openxmlformats.org/officeDocument/2006/relationships/image" Target="../media/image129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Layout" Target="../diagrams/layout7.xml"/><Relationship Id="rId7" Type="http://schemas.openxmlformats.org/officeDocument/2006/relationships/image" Target="../media/image3.jp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jpeg"/><Relationship Id="rId3" Type="http://schemas.openxmlformats.org/officeDocument/2006/relationships/diagramLayout" Target="../diagrams/layout8.xml"/><Relationship Id="rId7" Type="http://schemas.openxmlformats.org/officeDocument/2006/relationships/image" Target="../media/image132.jpe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10" Type="http://schemas.openxmlformats.org/officeDocument/2006/relationships/image" Target="../media/image15.png"/><Relationship Id="rId4" Type="http://schemas.openxmlformats.org/officeDocument/2006/relationships/diagramQuickStyle" Target="../diagrams/quickStyle8.xml"/><Relationship Id="rId9" Type="http://schemas.openxmlformats.org/officeDocument/2006/relationships/image" Target="../media/image3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jpeg"/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3.jpg"/><Relationship Id="rId4" Type="http://schemas.openxmlformats.org/officeDocument/2006/relationships/image" Target="../media/image13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" Target="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3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image" Target="../media/image3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3.jpg"/><Relationship Id="rId4" Type="http://schemas.openxmlformats.org/officeDocument/2006/relationships/image" Target="../media/image14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Layout" Target="../diagrams/layout9.xml"/><Relationship Id="rId7" Type="http://schemas.openxmlformats.org/officeDocument/2006/relationships/image" Target="../media/image3.jp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image" Target="../media/image10.png"/><Relationship Id="rId68" Type="http://schemas.openxmlformats.org/officeDocument/2006/relationships/image" Target="../media/image1.jp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image" Target="../media/image5.jpeg"/><Relationship Id="rId66" Type="http://schemas.openxmlformats.org/officeDocument/2006/relationships/image" Target="../media/image13.jpeg"/><Relationship Id="rId5" Type="http://schemas.openxmlformats.org/officeDocument/2006/relationships/tags" Target="../tags/tag5.xml"/><Relationship Id="rId61" Type="http://schemas.openxmlformats.org/officeDocument/2006/relationships/image" Target="../media/image8.png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slideLayout" Target="../slideLayouts/slideLayout6.xml"/><Relationship Id="rId64" Type="http://schemas.openxmlformats.org/officeDocument/2006/relationships/image" Target="../media/image11.jpe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image" Target="../media/image6.png"/><Relationship Id="rId67" Type="http://schemas.openxmlformats.org/officeDocument/2006/relationships/image" Target="../media/image14.pn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image" Target="../media/image9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image" Target="../media/image4.jpeg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image" Target="../media/image7.jpeg"/><Relationship Id="rId65" Type="http://schemas.openxmlformats.org/officeDocument/2006/relationships/image" Target="../media/image12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.png"/><Relationship Id="rId5" Type="http://schemas.openxmlformats.org/officeDocument/2006/relationships/image" Target="../media/image3.jpg"/><Relationship Id="rId4" Type="http://schemas.openxmlformats.org/officeDocument/2006/relationships/image" Target="../media/image14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5.png"/><Relationship Id="rId4" Type="http://schemas.openxmlformats.org/officeDocument/2006/relationships/image" Target="../media/image3.jp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13" Type="http://schemas.openxmlformats.org/officeDocument/2006/relationships/image" Target="../media/image146.png"/><Relationship Id="rId3" Type="http://schemas.openxmlformats.org/officeDocument/2006/relationships/diagramLayout" Target="../diagrams/layout10.xml"/><Relationship Id="rId7" Type="http://schemas.openxmlformats.org/officeDocument/2006/relationships/diagramData" Target="../diagrams/data11.xml"/><Relationship Id="rId12" Type="http://schemas.openxmlformats.org/officeDocument/2006/relationships/image" Target="../media/image145.png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5" Type="http://schemas.openxmlformats.org/officeDocument/2006/relationships/diagramColors" Target="../diagrams/colors10.xml"/><Relationship Id="rId15" Type="http://schemas.openxmlformats.org/officeDocument/2006/relationships/image" Target="../media/image15.png"/><Relationship Id="rId10" Type="http://schemas.openxmlformats.org/officeDocument/2006/relationships/diagramColors" Target="../diagrams/colors11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Relationship Id="rId14" Type="http://schemas.openxmlformats.org/officeDocument/2006/relationships/image" Target="../media/image3.jp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g"/><Relationship Id="rId5" Type="http://schemas.openxmlformats.org/officeDocument/2006/relationships/image" Target="../media/image148.jpeg"/><Relationship Id="rId4" Type="http://schemas.openxmlformats.org/officeDocument/2006/relationships/image" Target="../media/image147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3.jpg"/><Relationship Id="rId2" Type="http://schemas.openxmlformats.org/officeDocument/2006/relationships/tags" Target="../tags/tag57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g"/><Relationship Id="rId5" Type="http://schemas.openxmlformats.org/officeDocument/2006/relationships/image" Target="../media/image151.jpg"/><Relationship Id="rId4" Type="http://schemas.openxmlformats.org/officeDocument/2006/relationships/image" Target="../media/image150.jp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g"/><Relationship Id="rId5" Type="http://schemas.openxmlformats.org/officeDocument/2006/relationships/image" Target="../media/image154.jpg"/><Relationship Id="rId4" Type="http://schemas.openxmlformats.org/officeDocument/2006/relationships/image" Target="../media/image153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g"/><Relationship Id="rId4" Type="http://schemas.openxmlformats.org/officeDocument/2006/relationships/image" Target="../media/image156.jp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g"/><Relationship Id="rId4" Type="http://schemas.openxmlformats.org/officeDocument/2006/relationships/image" Target="../media/image156.jp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9.jpeg"/><Relationship Id="rId5" Type="http://schemas.openxmlformats.org/officeDocument/2006/relationships/image" Target="../media/image158.jpg"/><Relationship Id="rId4" Type="http://schemas.openxmlformats.org/officeDocument/2006/relationships/image" Target="../media/image157.jpe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image" Target="../media/image3.jpg"/><Relationship Id="rId2" Type="http://schemas.openxmlformats.org/officeDocument/2006/relationships/tags" Target="../tags/tag72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3.jp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.jp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7.emf"/><Relationship Id="rId21" Type="http://schemas.openxmlformats.org/officeDocument/2006/relationships/image" Target="../media/image42.emf"/><Relationship Id="rId42" Type="http://schemas.openxmlformats.org/officeDocument/2006/relationships/image" Target="../media/image63.emf"/><Relationship Id="rId47" Type="http://schemas.openxmlformats.org/officeDocument/2006/relationships/image" Target="../media/image68.emf"/><Relationship Id="rId63" Type="http://schemas.openxmlformats.org/officeDocument/2006/relationships/image" Target="../media/image84.emf"/><Relationship Id="rId68" Type="http://schemas.openxmlformats.org/officeDocument/2006/relationships/image" Target="../media/image89.emf"/><Relationship Id="rId84" Type="http://schemas.openxmlformats.org/officeDocument/2006/relationships/image" Target="../media/image15.png"/><Relationship Id="rId16" Type="http://schemas.openxmlformats.org/officeDocument/2006/relationships/image" Target="../media/image37.emf"/><Relationship Id="rId11" Type="http://schemas.openxmlformats.org/officeDocument/2006/relationships/image" Target="../media/image32.emf"/><Relationship Id="rId32" Type="http://schemas.openxmlformats.org/officeDocument/2006/relationships/image" Target="../media/image53.emf"/><Relationship Id="rId37" Type="http://schemas.openxmlformats.org/officeDocument/2006/relationships/image" Target="../media/image58.emf"/><Relationship Id="rId53" Type="http://schemas.openxmlformats.org/officeDocument/2006/relationships/image" Target="../media/image74.emf"/><Relationship Id="rId58" Type="http://schemas.openxmlformats.org/officeDocument/2006/relationships/image" Target="../media/image79.emf"/><Relationship Id="rId74" Type="http://schemas.openxmlformats.org/officeDocument/2006/relationships/image" Target="../media/image95.emf"/><Relationship Id="rId79" Type="http://schemas.openxmlformats.org/officeDocument/2006/relationships/image" Target="../media/image100.emf"/><Relationship Id="rId5" Type="http://schemas.openxmlformats.org/officeDocument/2006/relationships/image" Target="../media/image26.emf"/><Relationship Id="rId61" Type="http://schemas.openxmlformats.org/officeDocument/2006/relationships/image" Target="../media/image82.emf"/><Relationship Id="rId82" Type="http://schemas.openxmlformats.org/officeDocument/2006/relationships/image" Target="../media/image103.emf"/><Relationship Id="rId19" Type="http://schemas.openxmlformats.org/officeDocument/2006/relationships/image" Target="../media/image40.emf"/><Relationship Id="rId14" Type="http://schemas.openxmlformats.org/officeDocument/2006/relationships/image" Target="../media/image35.emf"/><Relationship Id="rId22" Type="http://schemas.openxmlformats.org/officeDocument/2006/relationships/image" Target="../media/image43.emf"/><Relationship Id="rId27" Type="http://schemas.openxmlformats.org/officeDocument/2006/relationships/image" Target="../media/image48.emf"/><Relationship Id="rId30" Type="http://schemas.openxmlformats.org/officeDocument/2006/relationships/image" Target="../media/image51.emf"/><Relationship Id="rId35" Type="http://schemas.openxmlformats.org/officeDocument/2006/relationships/image" Target="../media/image56.emf"/><Relationship Id="rId43" Type="http://schemas.openxmlformats.org/officeDocument/2006/relationships/image" Target="../media/image64.emf"/><Relationship Id="rId48" Type="http://schemas.openxmlformats.org/officeDocument/2006/relationships/image" Target="../media/image69.emf"/><Relationship Id="rId56" Type="http://schemas.openxmlformats.org/officeDocument/2006/relationships/image" Target="../media/image77.emf"/><Relationship Id="rId64" Type="http://schemas.openxmlformats.org/officeDocument/2006/relationships/image" Target="../media/image85.emf"/><Relationship Id="rId69" Type="http://schemas.openxmlformats.org/officeDocument/2006/relationships/image" Target="../media/image90.emf"/><Relationship Id="rId77" Type="http://schemas.openxmlformats.org/officeDocument/2006/relationships/image" Target="../media/image98.emf"/><Relationship Id="rId8" Type="http://schemas.openxmlformats.org/officeDocument/2006/relationships/image" Target="../media/image29.emf"/><Relationship Id="rId51" Type="http://schemas.openxmlformats.org/officeDocument/2006/relationships/image" Target="../media/image72.emf"/><Relationship Id="rId72" Type="http://schemas.openxmlformats.org/officeDocument/2006/relationships/image" Target="../media/image93.emf"/><Relationship Id="rId80" Type="http://schemas.openxmlformats.org/officeDocument/2006/relationships/image" Target="../media/image101.emf"/><Relationship Id="rId3" Type="http://schemas.openxmlformats.org/officeDocument/2006/relationships/image" Target="../media/image24.jpeg"/><Relationship Id="rId12" Type="http://schemas.openxmlformats.org/officeDocument/2006/relationships/image" Target="../media/image33.emf"/><Relationship Id="rId17" Type="http://schemas.openxmlformats.org/officeDocument/2006/relationships/image" Target="../media/image38.emf"/><Relationship Id="rId25" Type="http://schemas.openxmlformats.org/officeDocument/2006/relationships/image" Target="../media/image46.emf"/><Relationship Id="rId33" Type="http://schemas.openxmlformats.org/officeDocument/2006/relationships/image" Target="../media/image54.emf"/><Relationship Id="rId38" Type="http://schemas.openxmlformats.org/officeDocument/2006/relationships/image" Target="../media/image59.emf"/><Relationship Id="rId46" Type="http://schemas.openxmlformats.org/officeDocument/2006/relationships/image" Target="../media/image67.emf"/><Relationship Id="rId59" Type="http://schemas.openxmlformats.org/officeDocument/2006/relationships/image" Target="../media/image80.emf"/><Relationship Id="rId67" Type="http://schemas.openxmlformats.org/officeDocument/2006/relationships/image" Target="../media/image88.emf"/><Relationship Id="rId20" Type="http://schemas.openxmlformats.org/officeDocument/2006/relationships/image" Target="../media/image41.emf"/><Relationship Id="rId41" Type="http://schemas.openxmlformats.org/officeDocument/2006/relationships/image" Target="../media/image62.emf"/><Relationship Id="rId54" Type="http://schemas.openxmlformats.org/officeDocument/2006/relationships/image" Target="../media/image75.emf"/><Relationship Id="rId62" Type="http://schemas.openxmlformats.org/officeDocument/2006/relationships/image" Target="../media/image83.emf"/><Relationship Id="rId70" Type="http://schemas.openxmlformats.org/officeDocument/2006/relationships/image" Target="../media/image91.emf"/><Relationship Id="rId75" Type="http://schemas.openxmlformats.org/officeDocument/2006/relationships/image" Target="../media/image96.emf"/><Relationship Id="rId83" Type="http://schemas.openxmlformats.org/officeDocument/2006/relationships/image" Target="../media/image3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emf"/><Relationship Id="rId15" Type="http://schemas.openxmlformats.org/officeDocument/2006/relationships/image" Target="../media/image36.emf"/><Relationship Id="rId23" Type="http://schemas.openxmlformats.org/officeDocument/2006/relationships/image" Target="../media/image44.emf"/><Relationship Id="rId28" Type="http://schemas.openxmlformats.org/officeDocument/2006/relationships/image" Target="../media/image49.emf"/><Relationship Id="rId36" Type="http://schemas.openxmlformats.org/officeDocument/2006/relationships/image" Target="../media/image57.emf"/><Relationship Id="rId49" Type="http://schemas.openxmlformats.org/officeDocument/2006/relationships/image" Target="../media/image70.emf"/><Relationship Id="rId57" Type="http://schemas.openxmlformats.org/officeDocument/2006/relationships/image" Target="../media/image78.emf"/><Relationship Id="rId10" Type="http://schemas.openxmlformats.org/officeDocument/2006/relationships/image" Target="../media/image31.emf"/><Relationship Id="rId31" Type="http://schemas.openxmlformats.org/officeDocument/2006/relationships/image" Target="../media/image52.emf"/><Relationship Id="rId44" Type="http://schemas.openxmlformats.org/officeDocument/2006/relationships/image" Target="../media/image65.emf"/><Relationship Id="rId52" Type="http://schemas.openxmlformats.org/officeDocument/2006/relationships/image" Target="../media/image73.emf"/><Relationship Id="rId60" Type="http://schemas.openxmlformats.org/officeDocument/2006/relationships/image" Target="../media/image81.emf"/><Relationship Id="rId65" Type="http://schemas.openxmlformats.org/officeDocument/2006/relationships/image" Target="../media/image86.emf"/><Relationship Id="rId73" Type="http://schemas.openxmlformats.org/officeDocument/2006/relationships/image" Target="../media/image94.emf"/><Relationship Id="rId78" Type="http://schemas.openxmlformats.org/officeDocument/2006/relationships/image" Target="../media/image99.emf"/><Relationship Id="rId81" Type="http://schemas.openxmlformats.org/officeDocument/2006/relationships/image" Target="../media/image102.emf"/><Relationship Id="rId4" Type="http://schemas.openxmlformats.org/officeDocument/2006/relationships/image" Target="../media/image25.emf"/><Relationship Id="rId9" Type="http://schemas.openxmlformats.org/officeDocument/2006/relationships/image" Target="../media/image30.emf"/><Relationship Id="rId13" Type="http://schemas.openxmlformats.org/officeDocument/2006/relationships/image" Target="../media/image34.emf"/><Relationship Id="rId18" Type="http://schemas.openxmlformats.org/officeDocument/2006/relationships/image" Target="../media/image39.emf"/><Relationship Id="rId39" Type="http://schemas.openxmlformats.org/officeDocument/2006/relationships/image" Target="../media/image60.emf"/><Relationship Id="rId34" Type="http://schemas.openxmlformats.org/officeDocument/2006/relationships/image" Target="../media/image55.emf"/><Relationship Id="rId50" Type="http://schemas.openxmlformats.org/officeDocument/2006/relationships/image" Target="../media/image71.emf"/><Relationship Id="rId55" Type="http://schemas.openxmlformats.org/officeDocument/2006/relationships/image" Target="../media/image76.emf"/><Relationship Id="rId76" Type="http://schemas.openxmlformats.org/officeDocument/2006/relationships/image" Target="../media/image97.emf"/><Relationship Id="rId7" Type="http://schemas.openxmlformats.org/officeDocument/2006/relationships/image" Target="../media/image28.emf"/><Relationship Id="rId71" Type="http://schemas.openxmlformats.org/officeDocument/2006/relationships/image" Target="../media/image92.emf"/><Relationship Id="rId2" Type="http://schemas.openxmlformats.org/officeDocument/2006/relationships/notesSlide" Target="../notesSlides/notesSlide5.xml"/><Relationship Id="rId29" Type="http://schemas.openxmlformats.org/officeDocument/2006/relationships/image" Target="../media/image50.emf"/><Relationship Id="rId24" Type="http://schemas.openxmlformats.org/officeDocument/2006/relationships/image" Target="../media/image45.emf"/><Relationship Id="rId40" Type="http://schemas.openxmlformats.org/officeDocument/2006/relationships/image" Target="../media/image61.emf"/><Relationship Id="rId45" Type="http://schemas.openxmlformats.org/officeDocument/2006/relationships/image" Target="../media/image66.emf"/><Relationship Id="rId66" Type="http://schemas.openxmlformats.org/officeDocument/2006/relationships/image" Target="../media/image8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058333" y="2081584"/>
            <a:ext cx="10937345" cy="2262781"/>
          </a:xfrm>
        </p:spPr>
        <p:txBody>
          <a:bodyPr>
            <a:normAutofit fontScale="90000"/>
          </a:bodyPr>
          <a:lstStyle/>
          <a:p>
            <a:pPr algn="ctr"/>
            <a:r>
              <a:rPr lang="fr-CA" b="1" dirty="0" smtClean="0"/>
              <a:t>Programme Phare de Relance du Hub aérien Sous Régional de Dakar	</a:t>
            </a:r>
            <a:endParaRPr lang="fr-CA" b="1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80279" y="412844"/>
            <a:ext cx="8915399" cy="1126283"/>
          </a:xfrm>
        </p:spPr>
        <p:txBody>
          <a:bodyPr>
            <a:normAutofit/>
          </a:bodyPr>
          <a:lstStyle/>
          <a:p>
            <a:r>
              <a:rPr lang="fr-CA" sz="2800" dirty="0" smtClean="0">
                <a:solidFill>
                  <a:srgbClr val="002060"/>
                </a:solidFill>
              </a:rPr>
              <a:t>Ministère du Tourisme et des Transports Aériens</a:t>
            </a:r>
            <a:endParaRPr lang="fr-CA" sz="2800" dirty="0">
              <a:solidFill>
                <a:srgbClr val="002060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667" y="135468"/>
            <a:ext cx="2277533" cy="16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04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33"/>
          <p:cNvGrpSpPr>
            <a:grpSpLocks/>
          </p:cNvGrpSpPr>
          <p:nvPr/>
        </p:nvGrpSpPr>
        <p:grpSpPr bwMode="auto">
          <a:xfrm>
            <a:off x="2820866" y="38100"/>
            <a:ext cx="4791808" cy="3390900"/>
            <a:chOff x="4714908" y="37978"/>
            <a:chExt cx="5191092" cy="3391022"/>
          </a:xfrm>
        </p:grpSpPr>
        <p:pic>
          <p:nvPicPr>
            <p:cNvPr id="5135" name="Image 6" descr="Master plan copie.jpg"/>
            <p:cNvPicPr>
              <a:picLocks noChangeAspect="1"/>
            </p:cNvPicPr>
            <p:nvPr/>
          </p:nvPicPr>
          <p:blipFill>
            <a:blip r:embed="rId2" cstate="print"/>
            <a:srcRect t="12851" r="2243"/>
            <a:stretch>
              <a:fillRect/>
            </a:stretch>
          </p:blipFill>
          <p:spPr bwMode="auto">
            <a:xfrm>
              <a:off x="4714908" y="37978"/>
              <a:ext cx="5191092" cy="33910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136" name="Rectangle 8"/>
            <p:cNvSpPr>
              <a:spLocks noChangeArrowheads="1"/>
            </p:cNvSpPr>
            <p:nvPr/>
          </p:nvSpPr>
          <p:spPr bwMode="auto">
            <a:xfrm>
              <a:off x="5595942" y="1752490"/>
              <a:ext cx="107157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fr-FR" b="1">
                  <a:solidFill>
                    <a:srgbClr val="FFFF00"/>
                  </a:solidFill>
                </a:rPr>
                <a:t>Zone A</a:t>
              </a:r>
            </a:p>
          </p:txBody>
        </p:sp>
        <p:sp>
          <p:nvSpPr>
            <p:cNvPr id="5137" name="Rectangle 8"/>
            <p:cNvSpPr>
              <a:spLocks noChangeArrowheads="1"/>
            </p:cNvSpPr>
            <p:nvPr/>
          </p:nvSpPr>
          <p:spPr bwMode="auto">
            <a:xfrm>
              <a:off x="8167710" y="395168"/>
              <a:ext cx="107157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fr-FR" b="1">
                  <a:solidFill>
                    <a:srgbClr val="FFFF00"/>
                  </a:solidFill>
                </a:rPr>
                <a:t>Zone C</a:t>
              </a:r>
            </a:p>
          </p:txBody>
        </p:sp>
        <p:sp>
          <p:nvSpPr>
            <p:cNvPr id="5138" name="Rectangle 8"/>
            <p:cNvSpPr>
              <a:spLocks noChangeArrowheads="1"/>
            </p:cNvSpPr>
            <p:nvPr/>
          </p:nvSpPr>
          <p:spPr bwMode="auto">
            <a:xfrm>
              <a:off x="7548565" y="1630856"/>
              <a:ext cx="107157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fr-FR" b="1">
                  <a:solidFill>
                    <a:srgbClr val="FFFF00"/>
                  </a:solidFill>
                </a:rPr>
                <a:t>Zone B</a:t>
              </a:r>
            </a:p>
          </p:txBody>
        </p:sp>
      </p:grpSp>
      <p:sp>
        <p:nvSpPr>
          <p:cNvPr id="27" name="Title 1"/>
          <p:cNvSpPr txBox="1">
            <a:spLocks/>
          </p:cNvSpPr>
          <p:nvPr/>
        </p:nvSpPr>
        <p:spPr bwMode="auto">
          <a:xfrm>
            <a:off x="7480791" y="71440"/>
            <a:ext cx="3121269" cy="3286125"/>
          </a:xfrm>
          <a:prstGeom prst="rect">
            <a:avLst/>
          </a:prstGeom>
          <a:solidFill>
            <a:srgbClr val="A9E739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177800" indent="-17780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fr-FR" b="1" dirty="0">
                <a:latin typeface="Calibri" pitchFamily="34" charset="0"/>
              </a:rPr>
              <a:t>542 parcelles à usage d’habitation, </a:t>
            </a:r>
            <a:r>
              <a:rPr lang="fr-FR" sz="1400" dirty="0">
                <a:latin typeface="Calibri" pitchFamily="34" charset="0"/>
              </a:rPr>
              <a:t>avec une superficie moyenne d’environ </a:t>
            </a:r>
            <a:r>
              <a:rPr lang="fr-FR" b="1" dirty="0">
                <a:latin typeface="Calibri" pitchFamily="34" charset="0"/>
              </a:rPr>
              <a:t>400 m²</a:t>
            </a:r>
          </a:p>
          <a:p>
            <a:pPr marL="177800" indent="-17780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fr-FR" b="1" dirty="0">
                <a:latin typeface="Calibri" pitchFamily="34" charset="0"/>
              </a:rPr>
              <a:t>28 parcelles pour les équipements collectifs :</a:t>
            </a:r>
          </a:p>
          <a:p>
            <a:pPr marL="450850" indent="-177800" eaLnBrk="0" hangingPunct="0">
              <a:buFont typeface="Wingdings" pitchFamily="2" charset="2"/>
              <a:buChar char="ü"/>
              <a:defRPr/>
            </a:pPr>
            <a:r>
              <a:rPr lang="fr-FR" sz="1400" dirty="0">
                <a:latin typeface="Calibri" pitchFamily="34" charset="0"/>
              </a:rPr>
              <a:t> 1 case de santé</a:t>
            </a:r>
          </a:p>
          <a:p>
            <a:pPr marL="450850" indent="-177800" eaLnBrk="0" hangingPunct="0">
              <a:buFont typeface="Wingdings" pitchFamily="2" charset="2"/>
              <a:buChar char="ü"/>
              <a:defRPr/>
            </a:pPr>
            <a:r>
              <a:rPr lang="fr-FR" sz="1400" dirty="0">
                <a:latin typeface="Calibri" pitchFamily="34" charset="0"/>
              </a:rPr>
              <a:t> 1 école primaire de 12 classes</a:t>
            </a:r>
          </a:p>
          <a:p>
            <a:pPr marL="450850" indent="-177800" eaLnBrk="0" hangingPunct="0">
              <a:buFont typeface="Wingdings" pitchFamily="2" charset="2"/>
              <a:buChar char="ü"/>
              <a:defRPr/>
            </a:pPr>
            <a:r>
              <a:rPr lang="fr-FR" sz="1400" dirty="0">
                <a:latin typeface="Calibri" pitchFamily="34" charset="0"/>
              </a:rPr>
              <a:t> 2 salles coraniques</a:t>
            </a:r>
          </a:p>
          <a:p>
            <a:pPr marL="450850" indent="-177800" eaLnBrk="0" hangingPunct="0">
              <a:buFont typeface="Wingdings" pitchFamily="2" charset="2"/>
              <a:buChar char="ü"/>
              <a:defRPr/>
            </a:pPr>
            <a:r>
              <a:rPr lang="fr-FR" sz="1400" dirty="0">
                <a:latin typeface="Calibri" pitchFamily="34" charset="0"/>
              </a:rPr>
              <a:t> 1 terrain multifonctionnel</a:t>
            </a:r>
          </a:p>
          <a:p>
            <a:pPr marL="450850" indent="-177800" eaLnBrk="0" hangingPunct="0">
              <a:buFont typeface="Wingdings" pitchFamily="2" charset="2"/>
              <a:buChar char="ü"/>
              <a:defRPr/>
            </a:pPr>
            <a:r>
              <a:rPr lang="fr-FR" sz="1400" dirty="0">
                <a:latin typeface="Calibri" pitchFamily="34" charset="0"/>
              </a:rPr>
              <a:t> 2 terrains de jeu</a:t>
            </a:r>
          </a:p>
          <a:p>
            <a:pPr marL="450850" indent="-177800" eaLnBrk="0" hangingPunct="0">
              <a:buFont typeface="Wingdings" pitchFamily="2" charset="2"/>
              <a:buChar char="ü"/>
              <a:defRPr/>
            </a:pPr>
            <a:r>
              <a:rPr lang="fr-FR" sz="1400" dirty="0">
                <a:latin typeface="Calibri" pitchFamily="34" charset="0"/>
              </a:rPr>
              <a:t> 1 grande mosquée</a:t>
            </a:r>
          </a:p>
          <a:p>
            <a:pPr marL="450850" indent="-177800" eaLnBrk="0" hangingPunct="0">
              <a:buFont typeface="Wingdings" pitchFamily="2" charset="2"/>
              <a:buChar char="ü"/>
              <a:defRPr/>
            </a:pPr>
            <a:r>
              <a:rPr lang="fr-FR" sz="1400" dirty="0">
                <a:latin typeface="Calibri" pitchFamily="34" charset="0"/>
              </a:rPr>
              <a:t> 5 </a:t>
            </a:r>
            <a:r>
              <a:rPr lang="fr-FR" sz="1400" dirty="0" err="1">
                <a:latin typeface="Calibri" pitchFamily="34" charset="0"/>
              </a:rPr>
              <a:t>Diakas</a:t>
            </a:r>
            <a:endParaRPr lang="fr-FR" sz="1400" dirty="0">
              <a:latin typeface="Calibri" pitchFamily="34" charset="0"/>
            </a:endParaRPr>
          </a:p>
          <a:p>
            <a:pPr marL="450850" indent="-177800" eaLnBrk="0" hangingPunct="0">
              <a:buFont typeface="Wingdings" pitchFamily="2" charset="2"/>
              <a:buChar char="ü"/>
              <a:defRPr/>
            </a:pPr>
            <a:r>
              <a:rPr lang="fr-FR" sz="1400" dirty="0">
                <a:latin typeface="Calibri" pitchFamily="34" charset="0"/>
              </a:rPr>
              <a:t> 1 cimetière clôturé, etc.</a:t>
            </a:r>
          </a:p>
          <a:p>
            <a:pPr marL="342900" indent="-342900" eaLnBrk="0" hangingPunct="0">
              <a:buFont typeface="Arial" charset="0"/>
              <a:buChar char="•"/>
              <a:defRPr/>
            </a:pPr>
            <a:endParaRPr lang="fr-FR" sz="1400" b="1" dirty="0">
              <a:latin typeface="Calibri" pitchFamily="34" charset="0"/>
            </a:endParaRP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1524000" y="2897188"/>
            <a:ext cx="3055326" cy="3960813"/>
          </a:xfrm>
          <a:prstGeom prst="rect">
            <a:avLst/>
          </a:prstGeom>
          <a:solidFill>
            <a:srgbClr val="A9E739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177800" indent="-17780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fr-FR" sz="1400" b="1" dirty="0">
                <a:latin typeface="Calibri" pitchFamily="34" charset="0"/>
              </a:rPr>
              <a:t>Situé à 3 km de l’aéroport et </a:t>
            </a:r>
            <a:r>
              <a:rPr lang="fr-FR" b="1" dirty="0">
                <a:latin typeface="Calibri" pitchFamily="34" charset="0"/>
              </a:rPr>
              <a:t>4 km </a:t>
            </a:r>
            <a:r>
              <a:rPr lang="fr-FR" sz="1400" b="1" dirty="0">
                <a:latin typeface="Calibri" pitchFamily="34" charset="0"/>
              </a:rPr>
              <a:t>de Pout, dans le </a:t>
            </a:r>
            <a:r>
              <a:rPr lang="fr-FR" sz="1400" b="1" dirty="0" err="1">
                <a:latin typeface="Calibri" pitchFamily="34" charset="0"/>
              </a:rPr>
              <a:t>triange</a:t>
            </a:r>
            <a:r>
              <a:rPr lang="fr-FR" sz="1400" b="1" dirty="0">
                <a:latin typeface="Calibri" pitchFamily="34" charset="0"/>
              </a:rPr>
              <a:t> </a:t>
            </a:r>
            <a:r>
              <a:rPr lang="fr-FR" sz="1400" b="1" dirty="0" err="1">
                <a:latin typeface="Calibri" pitchFamily="34" charset="0"/>
              </a:rPr>
              <a:t>Lène</a:t>
            </a:r>
            <a:r>
              <a:rPr lang="fr-FR" sz="1400" b="1" dirty="0">
                <a:latin typeface="Calibri" pitchFamily="34" charset="0"/>
              </a:rPr>
              <a:t> - </a:t>
            </a:r>
            <a:r>
              <a:rPr lang="fr-FR" sz="1400" b="1" dirty="0" err="1">
                <a:latin typeface="Calibri" pitchFamily="34" charset="0"/>
              </a:rPr>
              <a:t>Landou</a:t>
            </a:r>
            <a:r>
              <a:rPr lang="fr-FR" sz="1400" b="1" dirty="0">
                <a:latin typeface="Calibri" pitchFamily="34" charset="0"/>
              </a:rPr>
              <a:t> - </a:t>
            </a:r>
            <a:r>
              <a:rPr lang="fr-FR" sz="1400" b="1" dirty="0" err="1">
                <a:latin typeface="Calibri" pitchFamily="34" charset="0"/>
              </a:rPr>
              <a:t>Touly</a:t>
            </a:r>
            <a:endParaRPr lang="fr-FR" sz="1400" b="1" dirty="0">
              <a:latin typeface="Calibri" pitchFamily="34" charset="0"/>
            </a:endParaRPr>
          </a:p>
          <a:p>
            <a:pPr marL="177800" indent="-1778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fr-FR" b="1" dirty="0">
                <a:latin typeface="Calibri" pitchFamily="34" charset="0"/>
              </a:rPr>
              <a:t>Trois zones indépendantes :</a:t>
            </a:r>
          </a:p>
          <a:p>
            <a:pPr marL="531813" indent="-258763">
              <a:buFont typeface="Wingdings" pitchFamily="2" charset="2"/>
              <a:buChar char="ü"/>
              <a:defRPr/>
            </a:pPr>
            <a:r>
              <a:rPr lang="fr-FR" sz="1400" b="1" dirty="0">
                <a:latin typeface="Calibri" pitchFamily="34" charset="0"/>
              </a:rPr>
              <a:t>Zone A: Village de </a:t>
            </a:r>
            <a:r>
              <a:rPr lang="fr-FR" sz="1400" b="1" dirty="0" err="1">
                <a:latin typeface="Calibri" pitchFamily="34" charset="0"/>
              </a:rPr>
              <a:t>Kathialite</a:t>
            </a:r>
            <a:endParaRPr lang="fr-FR" sz="1400" b="1" dirty="0">
              <a:latin typeface="Calibri" pitchFamily="34" charset="0"/>
            </a:endParaRPr>
          </a:p>
          <a:p>
            <a:pPr marL="531813" indent="-258763">
              <a:buFont typeface="Wingdings" pitchFamily="2" charset="2"/>
              <a:buChar char="ü"/>
              <a:defRPr/>
            </a:pPr>
            <a:r>
              <a:rPr lang="fr-FR" sz="1400" b="1" dirty="0">
                <a:latin typeface="Calibri" pitchFamily="34" charset="0"/>
              </a:rPr>
              <a:t>Zone B: Village de </a:t>
            </a:r>
            <a:r>
              <a:rPr lang="fr-FR" sz="1400" b="1" dirty="0" err="1">
                <a:latin typeface="Calibri" pitchFamily="34" charset="0"/>
              </a:rPr>
              <a:t>Mbadate</a:t>
            </a:r>
            <a:endParaRPr lang="fr-FR" sz="1400" b="1" dirty="0">
              <a:latin typeface="Calibri" pitchFamily="34" charset="0"/>
            </a:endParaRPr>
          </a:p>
          <a:p>
            <a:pPr marL="531813" indent="-258763">
              <a:buFont typeface="Wingdings" pitchFamily="2" charset="2"/>
              <a:buChar char="ü"/>
              <a:defRPr/>
            </a:pPr>
            <a:r>
              <a:rPr lang="fr-FR" sz="1400" b="1" dirty="0">
                <a:latin typeface="Calibri" pitchFamily="34" charset="0"/>
              </a:rPr>
              <a:t>Zone C: Village de </a:t>
            </a:r>
            <a:r>
              <a:rPr lang="fr-FR" sz="1400" b="1" dirty="0" err="1">
                <a:latin typeface="Calibri" pitchFamily="34" charset="0"/>
              </a:rPr>
              <a:t>Kessoukhate</a:t>
            </a:r>
            <a:endParaRPr lang="fr-FR" sz="1400" b="1" dirty="0">
              <a:latin typeface="Calibri" pitchFamily="34" charset="0"/>
            </a:endParaRPr>
          </a:p>
          <a:p>
            <a:pPr marL="177800" indent="-1778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fr-FR" sz="1400" b="1" dirty="0">
                <a:latin typeface="Calibri" pitchFamily="34" charset="0"/>
              </a:rPr>
              <a:t>Superficie totale : </a:t>
            </a:r>
            <a:r>
              <a:rPr lang="fr-FR" b="1" dirty="0">
                <a:latin typeface="Calibri" pitchFamily="34" charset="0"/>
              </a:rPr>
              <a:t>150 ha </a:t>
            </a:r>
          </a:p>
          <a:p>
            <a:pPr marL="177800" indent="-1778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fr-FR" sz="1400" b="1" dirty="0">
                <a:latin typeface="Calibri" pitchFamily="34" charset="0"/>
              </a:rPr>
              <a:t>1250 parcelles potentielles dont 542 aménagées sur la moitié du site</a:t>
            </a:r>
          </a:p>
          <a:p>
            <a:pPr marL="177800" indent="-1778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fr-FR" sz="1400" b="1" dirty="0">
                <a:latin typeface="Calibri" pitchFamily="34" charset="0"/>
              </a:rPr>
              <a:t>Réserve de </a:t>
            </a:r>
            <a:r>
              <a:rPr lang="fr-FR" b="1" dirty="0">
                <a:latin typeface="Calibri" pitchFamily="34" charset="0"/>
              </a:rPr>
              <a:t>75 ha </a:t>
            </a:r>
            <a:r>
              <a:rPr lang="fr-FR" sz="1400" b="1" dirty="0">
                <a:latin typeface="Calibri" pitchFamily="34" charset="0"/>
              </a:rPr>
              <a:t>pour  l’extension du site de recasement</a:t>
            </a:r>
          </a:p>
          <a:p>
            <a:pPr marL="177800" indent="-1778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fr-FR" sz="1400" b="1" dirty="0">
                <a:latin typeface="Calibri" pitchFamily="34" charset="0"/>
              </a:rPr>
              <a:t>300 ha de terres agricoles</a:t>
            </a:r>
          </a:p>
        </p:txBody>
      </p:sp>
      <p:sp>
        <p:nvSpPr>
          <p:cNvPr id="5125" name="Title 1"/>
          <p:cNvSpPr txBox="1">
            <a:spLocks/>
          </p:cNvSpPr>
          <p:nvPr/>
        </p:nvSpPr>
        <p:spPr bwMode="auto">
          <a:xfrm>
            <a:off x="1524002" y="476672"/>
            <a:ext cx="1763687" cy="720080"/>
          </a:xfrm>
          <a:prstGeom prst="rect">
            <a:avLst/>
          </a:prstGeom>
          <a:solidFill>
            <a:srgbClr val="FFFF00"/>
          </a:solidFill>
          <a:ln w="19050">
            <a:solidFill>
              <a:srgbClr val="00B05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fr-FR" sz="2000">
                <a:solidFill>
                  <a:srgbClr val="00B050"/>
                </a:solidFill>
                <a:latin typeface="Verdana" pitchFamily="34" charset="0"/>
              </a:rPr>
              <a:t>Site de recasement</a:t>
            </a:r>
          </a:p>
        </p:txBody>
      </p:sp>
      <p:sp>
        <p:nvSpPr>
          <p:cNvPr id="5126" name="Title 1"/>
          <p:cNvSpPr txBox="1">
            <a:spLocks/>
          </p:cNvSpPr>
          <p:nvPr/>
        </p:nvSpPr>
        <p:spPr bwMode="auto">
          <a:xfrm>
            <a:off x="4777154" y="3429002"/>
            <a:ext cx="5824904" cy="500063"/>
          </a:xfrm>
          <a:prstGeom prst="rect">
            <a:avLst/>
          </a:prstGeom>
          <a:solidFill>
            <a:srgbClr val="FFFF00"/>
          </a:solidFill>
          <a:ln w="19050">
            <a:solidFill>
              <a:srgbClr val="00B05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fr-FR" sz="2000">
                <a:solidFill>
                  <a:srgbClr val="00B050"/>
                </a:solidFill>
                <a:latin typeface="Verdana" pitchFamily="34" charset="0"/>
              </a:rPr>
              <a:t>Logements de compensation</a:t>
            </a:r>
          </a:p>
        </p:txBody>
      </p:sp>
      <p:sp>
        <p:nvSpPr>
          <p:cNvPr id="37" name="Rectangle 7"/>
          <p:cNvSpPr>
            <a:spLocks noChangeArrowheads="1"/>
          </p:cNvSpPr>
          <p:nvPr/>
        </p:nvSpPr>
        <p:spPr bwMode="auto">
          <a:xfrm>
            <a:off x="8355624" y="6392865"/>
            <a:ext cx="272561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eaLnBrk="0" hangingPunct="0">
              <a:spcBef>
                <a:spcPct val="20000"/>
              </a:spcBef>
              <a:defRPr/>
            </a:pPr>
            <a:r>
              <a:rPr lang="fr-FR" sz="1600" b="1" dirty="0">
                <a:solidFill>
                  <a:schemeClr val="tx2"/>
                </a:solidFill>
                <a:latin typeface="Calibri" pitchFamily="34" charset="0"/>
              </a:rPr>
              <a:t>Maison type</a:t>
            </a:r>
          </a:p>
          <a:p>
            <a:pPr marL="355600" indent="-355600">
              <a:defRPr/>
            </a:pPr>
            <a:endParaRPr lang="fr-FR" sz="2400" dirty="0">
              <a:solidFill>
                <a:schemeClr val="bg2">
                  <a:lumMod val="25000"/>
                </a:schemeClr>
              </a:solidFill>
              <a:latin typeface="Verdana" pitchFamily="34" charset="0"/>
            </a:endParaRPr>
          </a:p>
        </p:txBody>
      </p:sp>
      <p:sp>
        <p:nvSpPr>
          <p:cNvPr id="5128" name="Rectangle 7"/>
          <p:cNvSpPr>
            <a:spLocks noChangeArrowheads="1"/>
          </p:cNvSpPr>
          <p:nvPr/>
        </p:nvSpPr>
        <p:spPr bwMode="auto">
          <a:xfrm>
            <a:off x="4579328" y="5572125"/>
            <a:ext cx="3165231" cy="947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fr-FR" sz="1600" b="1" dirty="0">
                <a:solidFill>
                  <a:schemeClr val="tx2"/>
                </a:solidFill>
                <a:latin typeface="Calibri" pitchFamily="34" charset="0"/>
              </a:rPr>
              <a:t>3</a:t>
            </a:r>
            <a:r>
              <a:rPr lang="fr-FR" sz="1600" b="1" dirty="0" smtClean="0">
                <a:solidFill>
                  <a:schemeClr val="tx2"/>
                </a:solidFill>
                <a:latin typeface="Calibri" pitchFamily="34" charset="0"/>
              </a:rPr>
              <a:t>42 </a:t>
            </a:r>
            <a:r>
              <a:rPr lang="fr-FR" sz="1600" b="1" dirty="0">
                <a:solidFill>
                  <a:schemeClr val="tx2"/>
                </a:solidFill>
                <a:latin typeface="Calibri" pitchFamily="34" charset="0"/>
              </a:rPr>
              <a:t>logements de </a:t>
            </a:r>
            <a:r>
              <a:rPr lang="fr-FR" b="1" dirty="0">
                <a:solidFill>
                  <a:schemeClr val="tx2"/>
                </a:solidFill>
                <a:latin typeface="Calibri" pitchFamily="34" charset="0"/>
              </a:rPr>
              <a:t>93 m² </a:t>
            </a:r>
            <a:r>
              <a:rPr lang="fr-FR" sz="1600" b="1" dirty="0">
                <a:solidFill>
                  <a:schemeClr val="tx2"/>
                </a:solidFill>
                <a:latin typeface="Calibri" pitchFamily="34" charset="0"/>
              </a:rPr>
              <a:t>bâtis    </a:t>
            </a:r>
          </a:p>
          <a:p>
            <a:pPr marL="177800" indent="-1778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fr-FR" b="1" dirty="0">
                <a:solidFill>
                  <a:schemeClr val="tx2"/>
                </a:solidFill>
                <a:latin typeface="Calibri" pitchFamily="34" charset="0"/>
              </a:rPr>
              <a:t>3</a:t>
            </a:r>
            <a:r>
              <a:rPr lang="fr-FR" sz="1600" b="1" dirty="0">
                <a:solidFill>
                  <a:schemeClr val="tx2"/>
                </a:solidFill>
                <a:latin typeface="Calibri" pitchFamily="34" charset="0"/>
              </a:rPr>
              <a:t> Chambres + Salon + Cuisine </a:t>
            </a:r>
            <a:r>
              <a:rPr lang="fr-FR" b="1" dirty="0">
                <a:solidFill>
                  <a:schemeClr val="tx2"/>
                </a:solidFill>
              </a:rPr>
              <a:t>+</a:t>
            </a:r>
            <a:r>
              <a:rPr lang="fr-FR" dirty="0"/>
              <a:t> </a:t>
            </a:r>
            <a:r>
              <a:rPr lang="fr-FR" sz="1600" b="1" dirty="0">
                <a:solidFill>
                  <a:schemeClr val="tx2"/>
                </a:solidFill>
                <a:latin typeface="Calibri" pitchFamily="34" charset="0"/>
              </a:rPr>
              <a:t>Toilettes + magasin</a:t>
            </a:r>
          </a:p>
        </p:txBody>
      </p:sp>
      <p:sp>
        <p:nvSpPr>
          <p:cNvPr id="5129" name="Rectangle 8"/>
          <p:cNvSpPr>
            <a:spLocks noChangeArrowheads="1"/>
          </p:cNvSpPr>
          <p:nvPr/>
        </p:nvSpPr>
        <p:spPr bwMode="auto">
          <a:xfrm>
            <a:off x="10448193" y="6500815"/>
            <a:ext cx="21980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1400" b="1">
                <a:solidFill>
                  <a:schemeClr val="tx2"/>
                </a:solidFill>
              </a:rPr>
              <a:t>4</a:t>
            </a:r>
            <a:endParaRPr lang="fr-FR" sz="1400">
              <a:solidFill>
                <a:schemeClr val="tx2"/>
              </a:solidFill>
            </a:endParaRPr>
          </a:p>
        </p:txBody>
      </p:sp>
      <p:sp>
        <p:nvSpPr>
          <p:cNvPr id="5130" name="Rectangle 8"/>
          <p:cNvSpPr>
            <a:spLocks noChangeArrowheads="1"/>
          </p:cNvSpPr>
          <p:nvPr/>
        </p:nvSpPr>
        <p:spPr bwMode="auto">
          <a:xfrm>
            <a:off x="4425462" y="6523040"/>
            <a:ext cx="21980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1400" b="1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5131" name="Rectangle 8"/>
          <p:cNvSpPr>
            <a:spLocks noChangeArrowheads="1"/>
          </p:cNvSpPr>
          <p:nvPr/>
        </p:nvSpPr>
        <p:spPr bwMode="auto">
          <a:xfrm>
            <a:off x="7326923" y="6500815"/>
            <a:ext cx="21980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1400" b="1">
                <a:solidFill>
                  <a:schemeClr val="tx2"/>
                </a:solidFill>
              </a:rPr>
              <a:t>3</a:t>
            </a:r>
            <a:endParaRPr lang="fr-FR" sz="1400">
              <a:solidFill>
                <a:schemeClr val="tx2"/>
              </a:solidFill>
            </a:endParaRPr>
          </a:p>
        </p:txBody>
      </p:sp>
      <p:sp>
        <p:nvSpPr>
          <p:cNvPr id="5132" name="Rectangle 8"/>
          <p:cNvSpPr>
            <a:spLocks noChangeArrowheads="1"/>
          </p:cNvSpPr>
          <p:nvPr/>
        </p:nvSpPr>
        <p:spPr bwMode="auto">
          <a:xfrm>
            <a:off x="4315559" y="571501"/>
            <a:ext cx="151667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1600" b="1">
                <a:solidFill>
                  <a:srgbClr val="FFFF00"/>
                </a:solidFill>
              </a:rPr>
              <a:t>Zone commune aux 3 villages</a:t>
            </a:r>
          </a:p>
        </p:txBody>
      </p:sp>
      <p:pic>
        <p:nvPicPr>
          <p:cNvPr id="5133" name="Image 1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66897" y="4005265"/>
            <a:ext cx="2857500" cy="161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34" name="Picture 20" descr="C:\Users\athioubou\Documents\Photos_site_recasement_210612\DSCF001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24397" y="4005265"/>
            <a:ext cx="2980592" cy="242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524000" y="0"/>
            <a:ext cx="4139952" cy="404664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noFill/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  <a:bevelB w="165100" prst="coolSlant"/>
          </a:sp3d>
        </p:spPr>
        <p:txBody>
          <a:bodyPr lIns="91429" tIns="45714" rIns="91429" bIns="45714" anchor="ctr"/>
          <a:lstStyle/>
          <a:p>
            <a:pPr marL="342900" indent="-342900" algn="ctr">
              <a:defRPr/>
            </a:pPr>
            <a:r>
              <a:rPr 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NNOVATION : AU PLAN  ENVIRONNEMENT ET SOCIAL    </a:t>
            </a:r>
          </a:p>
        </p:txBody>
      </p:sp>
      <p:sp>
        <p:nvSpPr>
          <p:cNvPr id="21" name="Espace réservé du pied de page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20" name="Espace réservé du numéro de diapositive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97CF81-4A95-4494-9F27-48BBB178CEB3}" type="slidenum">
              <a:rPr lang="fr-FR" smtClean="0"/>
              <a:pPr>
                <a:defRPr/>
              </a:pPr>
              <a:t>10</a:t>
            </a:fld>
            <a:endParaRPr lang="fr-FR"/>
          </a:p>
        </p:txBody>
      </p:sp>
      <p:pic>
        <p:nvPicPr>
          <p:cNvPr id="22" name="Shape 280"/>
          <p:cNvPicPr preferRelativeResize="0"/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31812" y="38100"/>
            <a:ext cx="793095" cy="687072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Image 22" descr="AIBD sa"/>
          <p:cNvPicPr/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876817" y="77084"/>
            <a:ext cx="1170241" cy="893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5934684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43" descr="PERSPECTIVE Termina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Espace réservé du pied de page 14"/>
          <p:cNvSpPr>
            <a:spLocks noGrp="1"/>
          </p:cNvSpPr>
          <p:nvPr>
            <p:ph type="ftr" sz="quarter" idx="11"/>
          </p:nvPr>
        </p:nvSpPr>
        <p:spPr>
          <a:xfrm>
            <a:off x="8256240" y="6520260"/>
            <a:ext cx="2411760" cy="365125"/>
          </a:xfrm>
        </p:spPr>
        <p:txBody>
          <a:bodyPr/>
          <a:lstStyle/>
          <a:p>
            <a:pPr>
              <a:defRPr/>
            </a:pPr>
            <a:r>
              <a:rPr lang="fr-FR" b="1" smtClean="0">
                <a:solidFill>
                  <a:srgbClr val="002060"/>
                </a:solidFill>
              </a:rPr>
              <a:t>30 MARS 2017</a:t>
            </a:r>
            <a:endParaRPr lang="fr-FR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97CF81-4A95-4494-9F27-48BBB178CEB3}" type="slidenum">
              <a:rPr lang="fr-FR" smtClean="0"/>
              <a:pPr>
                <a:defRPr/>
              </a:pPr>
              <a:t>11</a:t>
            </a:fld>
            <a:endParaRPr lang="fr-FR"/>
          </a:p>
        </p:txBody>
      </p:sp>
      <p:sp>
        <p:nvSpPr>
          <p:cNvPr id="2" name="ZoneTexte 1"/>
          <p:cNvSpPr txBox="1"/>
          <p:nvPr/>
        </p:nvSpPr>
        <p:spPr>
          <a:xfrm>
            <a:off x="3197424" y="2967335"/>
            <a:ext cx="62646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5400" dirty="0">
                <a:solidFill>
                  <a:srgbClr val="00133A"/>
                </a:solidFill>
              </a:rPr>
              <a:t>ETAT DES LIEUX</a:t>
            </a:r>
          </a:p>
        </p:txBody>
      </p:sp>
      <p:pic>
        <p:nvPicPr>
          <p:cNvPr id="8" name="Shape 280"/>
          <p:cNvPicPr preferRelativeResize="0"/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313271" y="200624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 descr="AIBD sa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0473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53208895"/>
      </p:ext>
    </p:extLst>
  </p:cSld>
  <p:clrMapOvr>
    <a:masterClrMapping/>
  </p:clrMapOvr>
  <p:transition spd="slow" advTm="200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 Box 47"/>
          <p:cNvSpPr txBox="1">
            <a:spLocks noChangeArrowheads="1"/>
          </p:cNvSpPr>
          <p:nvPr/>
        </p:nvSpPr>
        <p:spPr bwMode="auto">
          <a:xfrm>
            <a:off x="1997076" y="1143001"/>
            <a:ext cx="15843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fr-FR" sz="800" b="1"/>
              <a:t>République du Sénégal</a:t>
            </a:r>
          </a:p>
        </p:txBody>
      </p:sp>
      <p:pic>
        <p:nvPicPr>
          <p:cNvPr id="23557" name="Picture 4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18" t="17474" r="25250" b="19971"/>
          <a:stretch>
            <a:fillRect/>
          </a:stretch>
        </p:blipFill>
        <p:spPr bwMode="auto">
          <a:xfrm>
            <a:off x="1941513" y="973137"/>
            <a:ext cx="8229600" cy="499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Rounded Rectangle 5">
            <a:hlinkClick r:id="rId4" action="ppaction://hlinksldjump"/>
          </p:cNvPr>
          <p:cNvSpPr/>
          <p:nvPr/>
        </p:nvSpPr>
        <p:spPr bwMode="auto">
          <a:xfrm>
            <a:off x="6829426" y="5524501"/>
            <a:ext cx="925513" cy="40481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13">
              <a:defRPr/>
            </a:pPr>
            <a:r>
              <a:rPr lang="fr-FR" sz="1200" b="1">
                <a:solidFill>
                  <a:srgbClr val="FFFFFF"/>
                </a:solidFill>
                <a:cs typeface="Arial" pitchFamily="34" charset="0"/>
              </a:rPr>
              <a:t>Piste</a:t>
            </a:r>
          </a:p>
        </p:txBody>
      </p:sp>
      <p:sp>
        <p:nvSpPr>
          <p:cNvPr id="71" name="Rounded Rectangle 6">
            <a:hlinkClick r:id="" action="ppaction://noaction"/>
          </p:cNvPr>
          <p:cNvSpPr/>
          <p:nvPr/>
        </p:nvSpPr>
        <p:spPr bwMode="auto">
          <a:xfrm>
            <a:off x="5675314" y="5562601"/>
            <a:ext cx="923925" cy="40481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13">
              <a:defRPr/>
            </a:pPr>
            <a:r>
              <a:rPr lang="fr-FR" sz="1200" b="1" dirty="0">
                <a:solidFill>
                  <a:srgbClr val="FFFFFF"/>
                </a:solidFill>
                <a:cs typeface="Arial" pitchFamily="34" charset="0"/>
              </a:rPr>
              <a:t>Parkings avions</a:t>
            </a:r>
          </a:p>
        </p:txBody>
      </p:sp>
      <p:sp>
        <p:nvSpPr>
          <p:cNvPr id="72" name="Rounded Rectangle 7"/>
          <p:cNvSpPr/>
          <p:nvPr/>
        </p:nvSpPr>
        <p:spPr bwMode="auto">
          <a:xfrm>
            <a:off x="4413251" y="5578476"/>
            <a:ext cx="1050885" cy="40481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13">
              <a:defRPr/>
            </a:pPr>
            <a:r>
              <a:rPr lang="fr-FR" sz="1200" b="1" dirty="0">
                <a:solidFill>
                  <a:srgbClr val="FFFFFF"/>
                </a:solidFill>
                <a:cs typeface="Arial" pitchFamily="34" charset="0"/>
              </a:rPr>
              <a:t>Voies circulation</a:t>
            </a:r>
          </a:p>
        </p:txBody>
      </p:sp>
      <p:sp>
        <p:nvSpPr>
          <p:cNvPr id="23561" name="Rounded Rectangle 8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2998789" y="5496794"/>
            <a:ext cx="923925" cy="404813"/>
          </a:xfrm>
          <a:prstGeom prst="roundRect">
            <a:avLst>
              <a:gd name="adj" fmla="val 16667"/>
            </a:avLst>
          </a:prstGeom>
          <a:solidFill>
            <a:srgbClr val="000099"/>
          </a:solidFill>
          <a:ln w="38100" algn="ctr">
            <a:solidFill>
              <a:srgbClr val="000099"/>
            </a:solidFill>
            <a:round/>
            <a:headEnd/>
            <a:tailEnd/>
          </a:ln>
        </p:spPr>
        <p:txBody>
          <a:bodyPr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sz="900" b="1">
                <a:solidFill>
                  <a:srgbClr val="FFFF00"/>
                </a:solidFill>
                <a:latin typeface="Arial Black" panose="020B0A04020102020204" pitchFamily="34" charset="0"/>
              </a:rPr>
              <a:t>Autres Bâtiments</a:t>
            </a:r>
          </a:p>
        </p:txBody>
      </p:sp>
      <p:sp>
        <p:nvSpPr>
          <p:cNvPr id="75" name="Rounded Rectangle 9"/>
          <p:cNvSpPr/>
          <p:nvPr/>
        </p:nvSpPr>
        <p:spPr bwMode="auto">
          <a:xfrm>
            <a:off x="5524500" y="2514601"/>
            <a:ext cx="920750" cy="40481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13">
              <a:defRPr/>
            </a:pPr>
            <a:r>
              <a:rPr lang="fr-FR" sz="1200" b="1">
                <a:solidFill>
                  <a:srgbClr val="FFFFFF"/>
                </a:solidFill>
                <a:cs typeface="Arial" pitchFamily="34" charset="0"/>
              </a:rPr>
              <a:t>Tour Contrôle</a:t>
            </a:r>
          </a:p>
        </p:txBody>
      </p:sp>
      <p:cxnSp>
        <p:nvCxnSpPr>
          <p:cNvPr id="76" name="Straight Arrow Connector 17"/>
          <p:cNvCxnSpPr>
            <a:cxnSpLocks noChangeShapeType="1"/>
            <a:endCxn id="71" idx="0"/>
          </p:cNvCxnSpPr>
          <p:nvPr/>
        </p:nvCxnSpPr>
        <p:spPr bwMode="auto">
          <a:xfrm>
            <a:off x="5983289" y="3875089"/>
            <a:ext cx="153987" cy="1666875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317500" dir="5400000" sx="89999" sy="-19000" rotWithShape="0">
              <a:srgbClr val="000000">
                <a:alpha val="14999"/>
              </a:srgbClr>
            </a:outerShdw>
          </a:effectLst>
        </p:spPr>
      </p:cxnSp>
      <p:cxnSp>
        <p:nvCxnSpPr>
          <p:cNvPr id="79" name="Straight Arrow Connector 24"/>
          <p:cNvCxnSpPr>
            <a:cxnSpLocks noChangeShapeType="1"/>
            <a:endCxn id="72" idx="0"/>
          </p:cNvCxnSpPr>
          <p:nvPr/>
        </p:nvCxnSpPr>
        <p:spPr bwMode="auto">
          <a:xfrm flipH="1">
            <a:off x="4938693" y="4143375"/>
            <a:ext cx="757218" cy="1435100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317500" dir="5400000" sx="89999" sy="-19000" rotWithShape="0">
              <a:srgbClr val="000000">
                <a:alpha val="14999"/>
              </a:srgbClr>
            </a:outerShdw>
          </a:effectLst>
        </p:spPr>
      </p:cxnSp>
      <p:cxnSp>
        <p:nvCxnSpPr>
          <p:cNvPr id="80" name="Straight Arrow Connector 31"/>
          <p:cNvCxnSpPr>
            <a:cxnSpLocks noChangeShapeType="1"/>
            <a:endCxn id="69" idx="0"/>
          </p:cNvCxnSpPr>
          <p:nvPr/>
        </p:nvCxnSpPr>
        <p:spPr bwMode="auto">
          <a:xfrm>
            <a:off x="6983414" y="4343401"/>
            <a:ext cx="307975" cy="1160463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317500" dir="5400000" sx="89999" sy="-19000" rotWithShape="0">
              <a:srgbClr val="000000">
                <a:alpha val="14999"/>
              </a:srgbClr>
            </a:outerShdw>
          </a:effectLst>
        </p:spPr>
      </p:cxnSp>
      <p:cxnSp>
        <p:nvCxnSpPr>
          <p:cNvPr id="81" name="Straight Arrow Connector 34"/>
          <p:cNvCxnSpPr>
            <a:cxnSpLocks noChangeShapeType="1"/>
            <a:endCxn id="72" idx="0"/>
          </p:cNvCxnSpPr>
          <p:nvPr/>
        </p:nvCxnSpPr>
        <p:spPr bwMode="auto">
          <a:xfrm flipH="1">
            <a:off x="4938693" y="3975101"/>
            <a:ext cx="449244" cy="1603375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317500" dir="5400000" sx="89999" sy="-19000" rotWithShape="0">
              <a:srgbClr val="000000">
                <a:alpha val="14999"/>
              </a:srgbClr>
            </a:outerShdw>
          </a:effectLst>
        </p:spPr>
      </p:cxnSp>
      <p:sp>
        <p:nvSpPr>
          <p:cNvPr id="82" name="Rounded Rectangle 38"/>
          <p:cNvSpPr/>
          <p:nvPr/>
        </p:nvSpPr>
        <p:spPr bwMode="auto">
          <a:xfrm>
            <a:off x="9144000" y="1773239"/>
            <a:ext cx="998538" cy="403225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13">
              <a:defRPr/>
            </a:pPr>
            <a:r>
              <a:rPr lang="fr-FR" sz="1200" b="1" dirty="0">
                <a:solidFill>
                  <a:srgbClr val="FFFFFF"/>
                </a:solidFill>
                <a:cs typeface="Arial" pitchFamily="34" charset="0"/>
              </a:rPr>
              <a:t>Aérogare Fret </a:t>
            </a:r>
          </a:p>
        </p:txBody>
      </p:sp>
      <p:sp>
        <p:nvSpPr>
          <p:cNvPr id="83" name="Rounded Rectangle 39"/>
          <p:cNvSpPr/>
          <p:nvPr/>
        </p:nvSpPr>
        <p:spPr bwMode="auto">
          <a:xfrm>
            <a:off x="6445251" y="1839914"/>
            <a:ext cx="923925" cy="403225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13">
              <a:defRPr/>
            </a:pPr>
            <a:r>
              <a:rPr lang="en-US" sz="1200" b="1" dirty="0">
                <a:solidFill>
                  <a:srgbClr val="FFFFFF"/>
                </a:solidFill>
                <a:cs typeface="Arial" pitchFamily="34" charset="0"/>
              </a:rPr>
              <a:t>Caserne SLI</a:t>
            </a:r>
          </a:p>
        </p:txBody>
      </p:sp>
      <p:sp>
        <p:nvSpPr>
          <p:cNvPr id="84" name="Rounded Rectangle 40"/>
          <p:cNvSpPr/>
          <p:nvPr/>
        </p:nvSpPr>
        <p:spPr bwMode="auto">
          <a:xfrm>
            <a:off x="4432220" y="1773239"/>
            <a:ext cx="925513" cy="44926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13">
              <a:defRPr/>
            </a:pPr>
            <a:r>
              <a:rPr lang="fr-FR" sz="1200" b="1" dirty="0">
                <a:solidFill>
                  <a:srgbClr val="FFFFFF"/>
                </a:solidFill>
                <a:cs typeface="Arial" pitchFamily="34" charset="0"/>
              </a:rPr>
              <a:t>Aérogare Passagers</a:t>
            </a:r>
          </a:p>
        </p:txBody>
      </p:sp>
      <p:cxnSp>
        <p:nvCxnSpPr>
          <p:cNvPr id="85" name="Straight Arrow Connector 42"/>
          <p:cNvCxnSpPr>
            <a:cxnSpLocks noChangeShapeType="1"/>
            <a:endCxn id="84" idx="2"/>
          </p:cNvCxnSpPr>
          <p:nvPr/>
        </p:nvCxnSpPr>
        <p:spPr bwMode="auto">
          <a:xfrm flipH="1" flipV="1">
            <a:off x="4894976" y="2222501"/>
            <a:ext cx="1078706" cy="1517652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317500" dir="5400000" sx="89999" sy="-19000" rotWithShape="0">
              <a:srgbClr val="000000">
                <a:alpha val="14999"/>
              </a:srgbClr>
            </a:outerShdw>
          </a:effectLst>
        </p:spPr>
      </p:cxnSp>
      <p:cxnSp>
        <p:nvCxnSpPr>
          <p:cNvPr id="86" name="Straight Arrow Connector 60"/>
          <p:cNvCxnSpPr>
            <a:cxnSpLocks noChangeShapeType="1"/>
            <a:endCxn id="83" idx="2"/>
          </p:cNvCxnSpPr>
          <p:nvPr/>
        </p:nvCxnSpPr>
        <p:spPr bwMode="auto">
          <a:xfrm flipV="1">
            <a:off x="6753225" y="2265364"/>
            <a:ext cx="153988" cy="1762125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317500" dir="5400000" sx="89999" sy="-19000" rotWithShape="0">
              <a:srgbClr val="000000">
                <a:alpha val="14999"/>
              </a:srgbClr>
            </a:outerShdw>
          </a:effectLst>
        </p:spPr>
      </p:cxnSp>
      <p:cxnSp>
        <p:nvCxnSpPr>
          <p:cNvPr id="87" name="Straight Arrow Connector 69"/>
          <p:cNvCxnSpPr>
            <a:cxnSpLocks noChangeShapeType="1"/>
            <a:endCxn id="82" idx="2"/>
          </p:cNvCxnSpPr>
          <p:nvPr/>
        </p:nvCxnSpPr>
        <p:spPr bwMode="auto">
          <a:xfrm flipV="1">
            <a:off x="7856539" y="2176463"/>
            <a:ext cx="1786731" cy="3124200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85194" dir="14606097" sx="89999" sy="-19000" rotWithShape="0">
              <a:srgbClr val="000000">
                <a:alpha val="14999"/>
              </a:srgbClr>
            </a:outerShdw>
          </a:effectLst>
        </p:spPr>
      </p:cxnSp>
      <p:cxnSp>
        <p:nvCxnSpPr>
          <p:cNvPr id="88" name="Straight Arrow Connector 72"/>
          <p:cNvCxnSpPr>
            <a:cxnSpLocks noChangeShapeType="1"/>
            <a:endCxn id="75" idx="2"/>
          </p:cNvCxnSpPr>
          <p:nvPr/>
        </p:nvCxnSpPr>
        <p:spPr bwMode="auto">
          <a:xfrm flipH="1" flipV="1">
            <a:off x="5984875" y="2940050"/>
            <a:ext cx="71438" cy="503238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317500" dir="5400000" sx="89999" sy="-19000" rotWithShape="0">
              <a:srgbClr val="000000">
                <a:alpha val="14999"/>
              </a:srgbClr>
            </a:outerShdw>
          </a:effectLst>
        </p:spPr>
      </p:cxnSp>
      <p:sp>
        <p:nvSpPr>
          <p:cNvPr id="89" name="Rounded Rectangle 76"/>
          <p:cNvSpPr/>
          <p:nvPr/>
        </p:nvSpPr>
        <p:spPr bwMode="auto">
          <a:xfrm>
            <a:off x="3825876" y="2532063"/>
            <a:ext cx="923925" cy="404812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13">
              <a:defRPr/>
            </a:pPr>
            <a:r>
              <a:rPr lang="fr-FR" sz="1200" b="1">
                <a:solidFill>
                  <a:srgbClr val="FFFFFF"/>
                </a:solidFill>
                <a:cs typeface="Arial" pitchFamily="34" charset="0"/>
              </a:rPr>
              <a:t>Aérogare Pèlerins </a:t>
            </a:r>
          </a:p>
        </p:txBody>
      </p:sp>
      <p:sp>
        <p:nvSpPr>
          <p:cNvPr id="90" name="Rounded Rectangle 62"/>
          <p:cNvSpPr/>
          <p:nvPr/>
        </p:nvSpPr>
        <p:spPr bwMode="auto">
          <a:xfrm>
            <a:off x="7535863" y="1412876"/>
            <a:ext cx="1231900" cy="40481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13">
              <a:defRPr/>
            </a:pPr>
            <a:r>
              <a:rPr lang="fr-FR" sz="1200" b="1" dirty="0">
                <a:solidFill>
                  <a:srgbClr val="FFFFFF"/>
                </a:solidFill>
                <a:cs typeface="Arial" pitchFamily="34" charset="0"/>
              </a:rPr>
              <a:t>Atelier Maintenance</a:t>
            </a:r>
          </a:p>
        </p:txBody>
      </p:sp>
      <p:cxnSp>
        <p:nvCxnSpPr>
          <p:cNvPr id="91" name="Straight Arrow Connector 63"/>
          <p:cNvCxnSpPr>
            <a:cxnSpLocks noChangeShapeType="1"/>
          </p:cNvCxnSpPr>
          <p:nvPr/>
        </p:nvCxnSpPr>
        <p:spPr bwMode="auto">
          <a:xfrm flipV="1">
            <a:off x="7934325" y="1844676"/>
            <a:ext cx="177800" cy="1935163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317500" dir="5400000" sx="89999" sy="-19000" rotWithShape="0">
              <a:srgbClr val="000000">
                <a:alpha val="14999"/>
              </a:srgbClr>
            </a:outerShdw>
          </a:effectLst>
        </p:spPr>
      </p:cxnSp>
      <p:sp>
        <p:nvSpPr>
          <p:cNvPr id="92" name="Rounded Rectangle 27"/>
          <p:cNvSpPr/>
          <p:nvPr/>
        </p:nvSpPr>
        <p:spPr bwMode="auto">
          <a:xfrm>
            <a:off x="2671763" y="1839914"/>
            <a:ext cx="1308100" cy="403225"/>
          </a:xfrm>
          <a:prstGeom prst="roundRect">
            <a:avLst>
              <a:gd name="adj" fmla="val 50000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13">
              <a:defRPr/>
            </a:pPr>
            <a:r>
              <a:rPr lang="fr-FR" sz="1200" b="1">
                <a:solidFill>
                  <a:srgbClr val="FFFFFF"/>
                </a:solidFill>
                <a:cs typeface="Arial" pitchFamily="34" charset="0"/>
              </a:rPr>
              <a:t>Pavillon Présidentiel </a:t>
            </a:r>
          </a:p>
        </p:txBody>
      </p:sp>
      <p:cxnSp>
        <p:nvCxnSpPr>
          <p:cNvPr id="93" name="Straight Arrow Connector 28"/>
          <p:cNvCxnSpPr>
            <a:cxnSpLocks noChangeShapeType="1"/>
            <a:endCxn id="92" idx="2"/>
          </p:cNvCxnSpPr>
          <p:nvPr/>
        </p:nvCxnSpPr>
        <p:spPr bwMode="auto">
          <a:xfrm flipV="1">
            <a:off x="3248025" y="2265364"/>
            <a:ext cx="77788" cy="1660525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317500" dir="5400000" sx="89999" sy="-19000" rotWithShape="0">
              <a:srgbClr val="000000">
                <a:alpha val="14999"/>
              </a:srgbClr>
            </a:outerShdw>
          </a:effectLst>
        </p:spPr>
      </p:cxnSp>
      <p:cxnSp>
        <p:nvCxnSpPr>
          <p:cNvPr id="94" name="Straight Arrow Connector 24"/>
          <p:cNvCxnSpPr>
            <a:cxnSpLocks noChangeShapeType="1"/>
          </p:cNvCxnSpPr>
          <p:nvPr/>
        </p:nvCxnSpPr>
        <p:spPr bwMode="auto">
          <a:xfrm flipH="1" flipV="1">
            <a:off x="4287840" y="2949576"/>
            <a:ext cx="512761" cy="493712"/>
          </a:xfrm>
          <a:prstGeom prst="straightConnector1">
            <a:avLst/>
          </a:prstGeom>
          <a:noFill/>
          <a:ln w="44450" algn="ctr">
            <a:solidFill>
              <a:srgbClr val="FF0000"/>
            </a:solidFill>
            <a:prstDash val="sysDot"/>
            <a:round/>
            <a:headEnd type="triangle" w="med" len="med"/>
            <a:tailEnd/>
          </a:ln>
          <a:effectLst>
            <a:outerShdw dist="317500" dir="5400000" sx="89999" sy="-19000" rotWithShape="0">
              <a:srgbClr val="000000">
                <a:alpha val="14999"/>
              </a:srgbClr>
            </a:outerShdw>
          </a:effectLst>
        </p:spPr>
      </p:cxnSp>
      <p:sp>
        <p:nvSpPr>
          <p:cNvPr id="95" name="Text Box 7"/>
          <p:cNvSpPr txBox="1">
            <a:spLocks noChangeArrowheads="1"/>
          </p:cNvSpPr>
          <p:nvPr/>
        </p:nvSpPr>
        <p:spPr bwMode="auto">
          <a:xfrm>
            <a:off x="3212307" y="377826"/>
            <a:ext cx="5616575" cy="447675"/>
          </a:xfrm>
          <a:prstGeom prst="rect">
            <a:avLst/>
          </a:prstGeom>
          <a:gradFill rotWithShape="1">
            <a:gsLst>
              <a:gs pos="0">
                <a:srgbClr val="2F2F47"/>
              </a:gs>
              <a:gs pos="50000">
                <a:srgbClr val="666699"/>
              </a:gs>
              <a:gs pos="100000">
                <a:srgbClr val="2F2F47"/>
              </a:gs>
            </a:gsLst>
            <a:lin ang="5400000" scaled="1"/>
          </a:gradFill>
          <a:ln w="12700" algn="ctr">
            <a:noFill/>
            <a:miter lim="800000"/>
            <a:headEnd/>
            <a:tailEnd/>
          </a:ln>
          <a:effectLst>
            <a:outerShdw dist="38099" dir="2700000" algn="ctr" rotWithShape="0">
              <a:schemeClr val="bg2">
                <a:alpha val="74997"/>
              </a:schemeClr>
            </a:outerShdw>
          </a:effectLst>
        </p:spPr>
        <p:txBody>
          <a:bodyPr lIns="91429" tIns="45714" rIns="91429" bIns="45714" anchor="ctr"/>
          <a:lstStyle/>
          <a:p>
            <a:pPr marL="342900" indent="-342900" algn="ctr">
              <a:defRPr/>
            </a:pPr>
            <a:r>
              <a:rPr lang="fr-FR" sz="2800" b="1" cap="all" dirty="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Arial" charset="0"/>
              </a:rPr>
              <a:t>SUMMA LIMAK JV </a:t>
            </a:r>
          </a:p>
        </p:txBody>
      </p:sp>
      <p:pic>
        <p:nvPicPr>
          <p:cNvPr id="29" name="Image 1" descr="AIBD sa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" t="2959" r="1624" b="2959"/>
          <a:stretch>
            <a:fillRect/>
          </a:stretch>
        </p:blipFill>
        <p:spPr bwMode="auto">
          <a:xfrm>
            <a:off x="10142538" y="70957"/>
            <a:ext cx="1584651" cy="61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Shape 280"/>
          <p:cNvPicPr preferRelativeResize="0"/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812425" y="0"/>
            <a:ext cx="768725" cy="6846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2570410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49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18" t="17474" r="25250" b="19971"/>
          <a:stretch>
            <a:fillRect/>
          </a:stretch>
        </p:blipFill>
        <p:spPr bwMode="auto">
          <a:xfrm>
            <a:off x="1916114" y="1447801"/>
            <a:ext cx="8142287" cy="451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ight Arrow 6">
            <a:hlinkClick r:id="rId3" action="ppaction://hlinksldjump"/>
          </p:cNvPr>
          <p:cNvSpPr/>
          <p:nvPr/>
        </p:nvSpPr>
        <p:spPr>
          <a:xfrm flipH="1">
            <a:off x="2057400" y="6172200"/>
            <a:ext cx="6096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2" rIns="91421" bIns="45712" anchor="ctr"/>
          <a:lstStyle/>
          <a:p>
            <a:pPr algn="ctr" defTabSz="914220">
              <a:defRPr/>
            </a:pP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667000" y="6172200"/>
            <a:ext cx="1524000" cy="369316"/>
          </a:xfrm>
          <a:prstGeom prst="rect">
            <a:avLst/>
          </a:prstGeom>
          <a:noFill/>
        </p:spPr>
        <p:txBody>
          <a:bodyPr lIns="91421" tIns="45712" rIns="91421" bIns="45712">
            <a:spAutoFit/>
          </a:bodyPr>
          <a:lstStyle/>
          <a:p>
            <a:pPr>
              <a:defRPr/>
            </a:pPr>
            <a:r>
              <a:rPr lang="en-US" b="1" dirty="0">
                <a:effectLst>
                  <a:outerShdw blurRad="38100" dist="38100" dir="2700000" algn="tl">
                    <a:srgbClr val="AFBAD7"/>
                  </a:outerShdw>
                </a:effectLst>
                <a:latin typeface="Albertus"/>
                <a:hlinkClick r:id="rId3" action="ppaction://hlinksldjump"/>
              </a:rPr>
              <a:t>Plan masse</a:t>
            </a:r>
            <a:endParaRPr lang="en-US" b="1" dirty="0">
              <a:effectLst>
                <a:outerShdw blurRad="38100" dist="38100" dir="2700000" algn="tl">
                  <a:srgbClr val="AFBAD7"/>
                </a:outerShdw>
              </a:effectLst>
              <a:latin typeface="Albertus"/>
            </a:endParaRPr>
          </a:p>
        </p:txBody>
      </p:sp>
      <p:sp>
        <p:nvSpPr>
          <p:cNvPr id="2053" name="Rectangle 8"/>
          <p:cNvSpPr>
            <a:spLocks noChangeArrowheads="1"/>
          </p:cNvSpPr>
          <p:nvPr/>
        </p:nvSpPr>
        <p:spPr bwMode="auto">
          <a:xfrm>
            <a:off x="2133600" y="762000"/>
            <a:ext cx="80010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fr-FR" altLang="fr-FR" b="1">
                <a:solidFill>
                  <a:srgbClr val="006666"/>
                </a:solidFill>
              </a:rPr>
              <a:t>Autres bâtiments (hors contrat de SBG)</a:t>
            </a:r>
          </a:p>
        </p:txBody>
      </p:sp>
      <p:sp>
        <p:nvSpPr>
          <p:cNvPr id="2054" name="AutoShape 77"/>
          <p:cNvSpPr>
            <a:spLocks noChangeArrowheads="1"/>
          </p:cNvSpPr>
          <p:nvPr/>
        </p:nvSpPr>
        <p:spPr bwMode="auto">
          <a:xfrm>
            <a:off x="3657600" y="1828800"/>
            <a:ext cx="1219200" cy="533400"/>
          </a:xfrm>
          <a:prstGeom prst="flowChartOffpageConnector">
            <a:avLst/>
          </a:prstGeom>
          <a:solidFill>
            <a:schemeClr val="accent1"/>
          </a:solidFill>
          <a:ln w="9525">
            <a:solidFill>
              <a:srgbClr val="006666"/>
            </a:solidFill>
            <a:miter lim="800000"/>
            <a:headEnd/>
            <a:tailEnd/>
          </a:ln>
        </p:spPr>
        <p:txBody>
          <a:bodyPr lIns="18000" tIns="10800" rIns="18000" bIns="108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1200" b="1"/>
              <a:t>VVIP</a:t>
            </a:r>
          </a:p>
        </p:txBody>
      </p:sp>
      <p:sp>
        <p:nvSpPr>
          <p:cNvPr id="2055" name="AutoShape 78"/>
          <p:cNvSpPr>
            <a:spLocks noChangeArrowheads="1"/>
          </p:cNvSpPr>
          <p:nvPr/>
        </p:nvSpPr>
        <p:spPr bwMode="auto">
          <a:xfrm>
            <a:off x="2286000" y="1828800"/>
            <a:ext cx="1219200" cy="533400"/>
          </a:xfrm>
          <a:prstGeom prst="flowChartOffpageConnector">
            <a:avLst/>
          </a:prstGeom>
          <a:solidFill>
            <a:schemeClr val="accent1"/>
          </a:solidFill>
          <a:ln w="9525">
            <a:solidFill>
              <a:srgbClr val="006666"/>
            </a:solidFill>
            <a:miter lim="800000"/>
            <a:headEnd/>
            <a:tailEnd/>
          </a:ln>
        </p:spPr>
        <p:txBody>
          <a:bodyPr lIns="18000" tIns="10800" rIns="18000" bIns="108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1200" b="1"/>
              <a:t>Hangar avion Présidentiel</a:t>
            </a:r>
          </a:p>
        </p:txBody>
      </p:sp>
      <p:sp>
        <p:nvSpPr>
          <p:cNvPr id="2056" name="AutoShape 79"/>
          <p:cNvSpPr>
            <a:spLocks noChangeArrowheads="1"/>
          </p:cNvSpPr>
          <p:nvPr/>
        </p:nvSpPr>
        <p:spPr bwMode="auto">
          <a:xfrm>
            <a:off x="5486400" y="1828800"/>
            <a:ext cx="1219200" cy="533400"/>
          </a:xfrm>
          <a:prstGeom prst="flowChartOffpageConnector">
            <a:avLst/>
          </a:prstGeom>
          <a:solidFill>
            <a:schemeClr val="accent1"/>
          </a:solidFill>
          <a:ln w="9525">
            <a:solidFill>
              <a:srgbClr val="006666"/>
            </a:solidFill>
            <a:miter lim="800000"/>
            <a:headEnd/>
            <a:tailEnd/>
          </a:ln>
        </p:spPr>
        <p:txBody>
          <a:bodyPr lIns="18000" tIns="10800" rIns="18000" bIns="108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1200" b="1"/>
              <a:t>Handling</a:t>
            </a:r>
          </a:p>
        </p:txBody>
      </p:sp>
      <p:sp>
        <p:nvSpPr>
          <p:cNvPr id="2057" name="AutoShape 82"/>
          <p:cNvSpPr>
            <a:spLocks noChangeArrowheads="1"/>
          </p:cNvSpPr>
          <p:nvPr/>
        </p:nvSpPr>
        <p:spPr bwMode="auto">
          <a:xfrm>
            <a:off x="8382000" y="1828800"/>
            <a:ext cx="1219200" cy="533400"/>
          </a:xfrm>
          <a:prstGeom prst="flowChartOffpageConnector">
            <a:avLst/>
          </a:prstGeom>
          <a:solidFill>
            <a:schemeClr val="accent1"/>
          </a:solidFill>
          <a:ln w="9525">
            <a:solidFill>
              <a:srgbClr val="006666"/>
            </a:solidFill>
            <a:miter lim="800000"/>
            <a:headEnd/>
            <a:tailEnd/>
          </a:ln>
        </p:spPr>
        <p:txBody>
          <a:bodyPr lIns="18000" tIns="10800" rIns="18000" bIns="108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1200" b="1"/>
              <a:t>Zone des pétroliers</a:t>
            </a:r>
          </a:p>
        </p:txBody>
      </p:sp>
      <p:sp>
        <p:nvSpPr>
          <p:cNvPr id="2058" name="AutoShape 85"/>
          <p:cNvSpPr>
            <a:spLocks noChangeArrowheads="1"/>
          </p:cNvSpPr>
          <p:nvPr/>
        </p:nvSpPr>
        <p:spPr bwMode="auto">
          <a:xfrm>
            <a:off x="6934200" y="1828800"/>
            <a:ext cx="1219200" cy="533400"/>
          </a:xfrm>
          <a:prstGeom prst="flowChartOffpageConnector">
            <a:avLst/>
          </a:prstGeom>
          <a:solidFill>
            <a:schemeClr val="accent1"/>
          </a:solidFill>
          <a:ln w="9525">
            <a:solidFill>
              <a:srgbClr val="006666"/>
            </a:solidFill>
            <a:miter lim="800000"/>
            <a:headEnd/>
            <a:tailEnd/>
          </a:ln>
        </p:spPr>
        <p:txBody>
          <a:bodyPr lIns="18000" tIns="10800" rIns="18000" bIns="108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1200" b="1"/>
              <a:t>Logements de service</a:t>
            </a:r>
          </a:p>
        </p:txBody>
      </p:sp>
      <p:sp>
        <p:nvSpPr>
          <p:cNvPr id="2059" name="AutoShape 86"/>
          <p:cNvSpPr>
            <a:spLocks noChangeArrowheads="1"/>
          </p:cNvSpPr>
          <p:nvPr/>
        </p:nvSpPr>
        <p:spPr bwMode="auto">
          <a:xfrm flipV="1">
            <a:off x="2895600" y="5410200"/>
            <a:ext cx="1220788" cy="533400"/>
          </a:xfrm>
          <a:prstGeom prst="flowChartOffpageConnector">
            <a:avLst/>
          </a:prstGeom>
          <a:solidFill>
            <a:schemeClr val="accent1"/>
          </a:solidFill>
          <a:ln w="9525">
            <a:solidFill>
              <a:srgbClr val="006666"/>
            </a:solidFill>
            <a:miter lim="800000"/>
            <a:headEnd/>
            <a:tailEnd/>
          </a:ln>
        </p:spPr>
        <p:txBody>
          <a:bodyPr rot="10800000" lIns="18000" tIns="10800" rIns="18000" bIns="108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1200" b="1"/>
              <a:t>Aviation Générale</a:t>
            </a:r>
          </a:p>
        </p:txBody>
      </p:sp>
      <p:sp>
        <p:nvSpPr>
          <p:cNvPr id="3" name="Rectangle 99"/>
          <p:cNvSpPr>
            <a:spLocks noChangeArrowheads="1"/>
          </p:cNvSpPr>
          <p:nvPr/>
        </p:nvSpPr>
        <p:spPr bwMode="auto">
          <a:xfrm>
            <a:off x="5432426" y="3657601"/>
            <a:ext cx="53975" cy="53975"/>
          </a:xfrm>
          <a:prstGeom prst="rect">
            <a:avLst/>
          </a:prstGeom>
          <a:solidFill>
            <a:srgbClr val="800080"/>
          </a:solidFill>
          <a:ln w="9525" algn="ctr">
            <a:solidFill>
              <a:srgbClr val="800080"/>
            </a:solidFill>
            <a:miter lim="800000"/>
            <a:headEnd/>
            <a:tailEnd/>
          </a:ln>
          <a:effectLst>
            <a:outerShdw dist="38100" dir="5400000" rotWithShape="0">
              <a:srgbClr val="000000">
                <a:alpha val="43137"/>
              </a:srgbClr>
            </a:outerShdw>
          </a:effectLst>
        </p:spPr>
        <p:txBody>
          <a:bodyPr anchor="ctr"/>
          <a:lstStyle/>
          <a:p>
            <a:pPr algn="ctr" defTabSz="914220">
              <a:defRPr/>
            </a:pPr>
            <a:endParaRPr lang="en-US">
              <a:solidFill>
                <a:schemeClr val="lt1"/>
              </a:solidFill>
            </a:endParaRPr>
          </a:p>
        </p:txBody>
      </p:sp>
      <p:sp>
        <p:nvSpPr>
          <p:cNvPr id="2061" name="Line 90"/>
          <p:cNvSpPr>
            <a:spLocks noChangeShapeType="1"/>
          </p:cNvSpPr>
          <p:nvPr/>
        </p:nvSpPr>
        <p:spPr bwMode="auto">
          <a:xfrm>
            <a:off x="2971800" y="2362200"/>
            <a:ext cx="609600" cy="152400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62" name="Line 91"/>
          <p:cNvSpPr>
            <a:spLocks noChangeShapeType="1"/>
          </p:cNvSpPr>
          <p:nvPr/>
        </p:nvSpPr>
        <p:spPr bwMode="auto">
          <a:xfrm>
            <a:off x="4343400" y="2362200"/>
            <a:ext cx="1066800" cy="129540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63" name="AutoShape 95">
            <a:hlinkClick r:id="rId4" action="ppaction://hlinksldjump"/>
          </p:cNvPr>
          <p:cNvSpPr>
            <a:spLocks noChangeArrowheads="1"/>
          </p:cNvSpPr>
          <p:nvPr/>
        </p:nvSpPr>
        <p:spPr bwMode="auto">
          <a:xfrm flipV="1">
            <a:off x="4572000" y="5410200"/>
            <a:ext cx="1220788" cy="533400"/>
          </a:xfrm>
          <a:prstGeom prst="flowChartOffpageConnector">
            <a:avLst/>
          </a:prstGeom>
          <a:solidFill>
            <a:srgbClr val="00B050"/>
          </a:solidFill>
          <a:ln w="9525">
            <a:solidFill>
              <a:srgbClr val="006666"/>
            </a:solidFill>
            <a:miter lim="800000"/>
            <a:headEnd/>
            <a:tailEnd/>
          </a:ln>
        </p:spPr>
        <p:txBody>
          <a:bodyPr rot="10800000" lIns="18000" tIns="10800" rIns="18000" bIns="108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1200" b="1"/>
              <a:t>Maintenance des avions</a:t>
            </a:r>
          </a:p>
        </p:txBody>
      </p:sp>
      <p:sp>
        <p:nvSpPr>
          <p:cNvPr id="2064" name="AutoShape 96"/>
          <p:cNvSpPr>
            <a:spLocks noChangeArrowheads="1"/>
          </p:cNvSpPr>
          <p:nvPr/>
        </p:nvSpPr>
        <p:spPr bwMode="auto">
          <a:xfrm flipV="1">
            <a:off x="8077200" y="5410200"/>
            <a:ext cx="1220788" cy="533400"/>
          </a:xfrm>
          <a:prstGeom prst="flowChartOffpageConnector">
            <a:avLst/>
          </a:prstGeom>
          <a:solidFill>
            <a:schemeClr val="accent1"/>
          </a:solidFill>
          <a:ln w="9525">
            <a:solidFill>
              <a:srgbClr val="006666"/>
            </a:solidFill>
            <a:miter lim="800000"/>
            <a:headEnd/>
            <a:tailEnd/>
          </a:ln>
        </p:spPr>
        <p:txBody>
          <a:bodyPr rot="10800000" lIns="18000" tIns="10800" rIns="18000" bIns="108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1200" b="1"/>
              <a:t>Catering</a:t>
            </a:r>
          </a:p>
        </p:txBody>
      </p:sp>
      <p:sp>
        <p:nvSpPr>
          <p:cNvPr id="2065" name="AutoShape 97"/>
          <p:cNvSpPr>
            <a:spLocks noChangeArrowheads="1"/>
          </p:cNvSpPr>
          <p:nvPr/>
        </p:nvSpPr>
        <p:spPr bwMode="auto">
          <a:xfrm flipV="1">
            <a:off x="6400800" y="5410200"/>
            <a:ext cx="1220788" cy="533400"/>
          </a:xfrm>
          <a:prstGeom prst="flowChartOffpageConnector">
            <a:avLst/>
          </a:prstGeom>
          <a:solidFill>
            <a:schemeClr val="accent1"/>
          </a:solidFill>
          <a:ln w="9525">
            <a:solidFill>
              <a:srgbClr val="006666"/>
            </a:solidFill>
            <a:miter lim="800000"/>
            <a:headEnd/>
            <a:tailEnd/>
          </a:ln>
        </p:spPr>
        <p:txBody>
          <a:bodyPr rot="10800000" lIns="18000" tIns="10800" rIns="18000" bIns="108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1200" b="1"/>
              <a:t>Bâtiments administratifs</a:t>
            </a:r>
          </a:p>
        </p:txBody>
      </p:sp>
      <p:sp>
        <p:nvSpPr>
          <p:cNvPr id="2066" name="Line 98"/>
          <p:cNvSpPr>
            <a:spLocks noChangeShapeType="1"/>
          </p:cNvSpPr>
          <p:nvPr/>
        </p:nvSpPr>
        <p:spPr bwMode="auto">
          <a:xfrm flipH="1" flipV="1">
            <a:off x="8305800" y="3886200"/>
            <a:ext cx="381000" cy="152400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67" name="Line 99"/>
          <p:cNvSpPr>
            <a:spLocks noChangeShapeType="1"/>
          </p:cNvSpPr>
          <p:nvPr/>
        </p:nvSpPr>
        <p:spPr bwMode="auto">
          <a:xfrm flipV="1">
            <a:off x="7010400" y="3733800"/>
            <a:ext cx="914400" cy="167640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68" name="Line 100"/>
          <p:cNvSpPr>
            <a:spLocks noChangeShapeType="1"/>
          </p:cNvSpPr>
          <p:nvPr/>
        </p:nvSpPr>
        <p:spPr bwMode="auto">
          <a:xfrm flipV="1">
            <a:off x="5181600" y="5181600"/>
            <a:ext cx="2209800" cy="22860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69" name="Line 101"/>
          <p:cNvSpPr>
            <a:spLocks noChangeShapeType="1"/>
          </p:cNvSpPr>
          <p:nvPr/>
        </p:nvSpPr>
        <p:spPr bwMode="auto">
          <a:xfrm flipV="1">
            <a:off x="3505200" y="3657600"/>
            <a:ext cx="1371600" cy="175260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70" name="Rectangle 102"/>
          <p:cNvSpPr>
            <a:spLocks noChangeArrowheads="1"/>
          </p:cNvSpPr>
          <p:nvPr/>
        </p:nvSpPr>
        <p:spPr bwMode="auto">
          <a:xfrm>
            <a:off x="8305800" y="3124201"/>
            <a:ext cx="381000" cy="269875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fr-FR" altLang="fr-FR" sz="1800"/>
          </a:p>
        </p:txBody>
      </p:sp>
      <p:sp>
        <p:nvSpPr>
          <p:cNvPr id="2071" name="Line 93"/>
          <p:cNvSpPr>
            <a:spLocks noChangeShapeType="1"/>
          </p:cNvSpPr>
          <p:nvPr/>
        </p:nvSpPr>
        <p:spPr bwMode="auto">
          <a:xfrm>
            <a:off x="7543800" y="2362200"/>
            <a:ext cx="990600" cy="76200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72" name="Line 93"/>
          <p:cNvSpPr>
            <a:spLocks noChangeShapeType="1"/>
          </p:cNvSpPr>
          <p:nvPr/>
        </p:nvSpPr>
        <p:spPr bwMode="auto">
          <a:xfrm flipH="1">
            <a:off x="8915400" y="2362200"/>
            <a:ext cx="76200" cy="137160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73" name="Line 93"/>
          <p:cNvSpPr>
            <a:spLocks noChangeShapeType="1"/>
          </p:cNvSpPr>
          <p:nvPr/>
        </p:nvSpPr>
        <p:spPr bwMode="auto">
          <a:xfrm>
            <a:off x="6096000" y="2362200"/>
            <a:ext cx="2057400" cy="144780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6" name="Right Arrow 6">
            <a:hlinkClick r:id="rId5" action="ppaction://hlinksldjump"/>
          </p:cNvPr>
          <p:cNvSpPr/>
          <p:nvPr/>
        </p:nvSpPr>
        <p:spPr>
          <a:xfrm>
            <a:off x="9448800" y="6172200"/>
            <a:ext cx="6096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2" rIns="91421" bIns="45712" anchor="ctr"/>
          <a:lstStyle/>
          <a:p>
            <a:pPr algn="ctr" defTabSz="914220">
              <a:defRPr/>
            </a:pPr>
            <a:endParaRPr lang="en-US" b="1" dirty="0">
              <a:latin typeface="Albertus" pitchFamily="34" charset="0"/>
            </a:endParaRPr>
          </a:p>
        </p:txBody>
      </p:sp>
      <p:sp>
        <p:nvSpPr>
          <p:cNvPr id="28" name="TextBox 7"/>
          <p:cNvSpPr txBox="1"/>
          <p:nvPr/>
        </p:nvSpPr>
        <p:spPr>
          <a:xfrm>
            <a:off x="8305800" y="6172200"/>
            <a:ext cx="1143000" cy="369316"/>
          </a:xfrm>
          <a:prstGeom prst="rect">
            <a:avLst/>
          </a:prstGeom>
          <a:noFill/>
        </p:spPr>
        <p:txBody>
          <a:bodyPr lIns="91421" tIns="45712" rIns="91421" bIns="45712">
            <a:spAutoFit/>
          </a:bodyPr>
          <a:lstStyle/>
          <a:p>
            <a:pPr>
              <a:defRPr/>
            </a:pPr>
            <a:r>
              <a:rPr lang="fr-FR" b="1" dirty="0">
                <a:solidFill>
                  <a:srgbClr val="92D050"/>
                </a:solidFill>
                <a:effectLst>
                  <a:outerShdw blurRad="38100" dist="38100" dir="2700000" algn="tl">
                    <a:srgbClr val="AFBAD7"/>
                  </a:outerShdw>
                </a:effectLst>
                <a:latin typeface="Albertus"/>
              </a:rPr>
              <a:t>Suivant</a:t>
            </a:r>
          </a:p>
        </p:txBody>
      </p:sp>
      <p:sp>
        <p:nvSpPr>
          <p:cNvPr id="2076" name="AutoShape 77">
            <a:hlinkClick r:id="rId6" action="ppaction://hlinksldjump"/>
          </p:cNvPr>
          <p:cNvSpPr>
            <a:spLocks noChangeArrowheads="1"/>
          </p:cNvSpPr>
          <p:nvPr/>
        </p:nvSpPr>
        <p:spPr bwMode="auto">
          <a:xfrm>
            <a:off x="4724400" y="2362200"/>
            <a:ext cx="1219200" cy="533400"/>
          </a:xfrm>
          <a:prstGeom prst="flowChartOffpageConnector">
            <a:avLst/>
          </a:prstGeom>
          <a:solidFill>
            <a:srgbClr val="00B050"/>
          </a:solidFill>
          <a:ln w="9525">
            <a:solidFill>
              <a:srgbClr val="006666"/>
            </a:solidFill>
            <a:miter lim="800000"/>
            <a:headEnd/>
            <a:tailEnd/>
          </a:ln>
        </p:spPr>
        <p:txBody>
          <a:bodyPr lIns="18000" tIns="10800" rIns="18000" bIns="108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1200" b="1"/>
              <a:t>Hôtel</a:t>
            </a:r>
          </a:p>
        </p:txBody>
      </p:sp>
      <p:sp>
        <p:nvSpPr>
          <p:cNvPr id="2077" name="Line 91"/>
          <p:cNvSpPr>
            <a:spLocks noChangeShapeType="1"/>
          </p:cNvSpPr>
          <p:nvPr/>
        </p:nvSpPr>
        <p:spPr bwMode="auto">
          <a:xfrm>
            <a:off x="5410200" y="2895600"/>
            <a:ext cx="228600" cy="60960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97CF81-4A95-4494-9F27-48BBB178CEB3}" type="slidenum">
              <a:rPr lang="fr-FR" smtClean="0"/>
              <a:pPr>
                <a:defRPr/>
              </a:pPr>
              <a:t>13</a:t>
            </a:fld>
            <a:endParaRPr lang="fr-FR"/>
          </a:p>
        </p:txBody>
      </p:sp>
      <p:pic>
        <p:nvPicPr>
          <p:cNvPr id="32" name="Shape 280"/>
          <p:cNvPicPr preferRelativeResize="0"/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812425" y="1"/>
            <a:ext cx="740150" cy="628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Image 32" descr="AIBD sa"/>
          <p:cNvPicPr/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72603774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/>
          <p:nvPr/>
        </p:nvSpPr>
        <p:spPr>
          <a:xfrm>
            <a:off x="1514475" y="847725"/>
            <a:ext cx="9163050" cy="476250"/>
          </a:xfrm>
          <a:prstGeom prst="rect">
            <a:avLst/>
          </a:prstGeom>
          <a:solidFill>
            <a:srgbClr val="2AB7C6"/>
          </a:solidFill>
          <a:ln w="12700">
            <a:miter lim="400000"/>
          </a:ln>
          <a:effectLst>
            <a:outerShdw blurRad="190500" dir="5400000" rotWithShape="0">
              <a:srgbClr val="000000">
                <a:alpha val="0"/>
              </a:srgbClr>
            </a:outerShdw>
          </a:effectLst>
        </p:spPr>
        <p:txBody>
          <a:bodyPr lIns="26789" tIns="26789" rIns="26789" bIns="26789" anchor="ctr"/>
          <a:lstStyle/>
          <a:p>
            <a:pPr algn="ctr">
              <a:defRPr sz="3200">
                <a:solidFill>
                  <a:srgbClr val="2AB7C6"/>
                </a:solidFill>
              </a:defRPr>
            </a:pPr>
            <a:endParaRPr sz="3200" dirty="0"/>
          </a:p>
        </p:txBody>
      </p:sp>
      <p:sp>
        <p:nvSpPr>
          <p:cNvPr id="180" name="Shape 180"/>
          <p:cNvSpPr>
            <a:spLocks noGrp="1"/>
          </p:cNvSpPr>
          <p:nvPr>
            <p:ph type="ctrTitle"/>
          </p:nvPr>
        </p:nvSpPr>
        <p:spPr>
          <a:xfrm>
            <a:off x="1746052" y="940148"/>
            <a:ext cx="6937772" cy="310456"/>
          </a:xfrm>
          <a:prstGeom prst="rect">
            <a:avLst/>
          </a:prstGeom>
        </p:spPr>
        <p:txBody>
          <a:bodyPr>
            <a:normAutofit fontScale="90000"/>
          </a:bodyPr>
          <a:lstStyle>
            <a:lvl1pPr algn="l" defTabSz="755808">
              <a:defRPr sz="4600">
                <a:solidFill>
                  <a:srgbClr val="FFFFFF"/>
                </a:solidFill>
                <a:latin typeface="DIN Alternate"/>
                <a:ea typeface="DIN Alternate"/>
                <a:cs typeface="DIN Alternate"/>
                <a:sym typeface="DIN Alternate"/>
              </a:defRPr>
            </a:lvl1pPr>
          </a:lstStyle>
          <a:p>
            <a:r>
              <a:rPr lang="fr-FR" sz="16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ARAISON DE DIFFERENTS SITES AEROPORTUAIRES</a:t>
            </a:r>
            <a:endParaRPr sz="16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82" name="Table 182"/>
          <p:cNvGraphicFramePr/>
          <p:nvPr>
            <p:extLst/>
          </p:nvPr>
        </p:nvGraphicFramePr>
        <p:xfrm>
          <a:off x="5088852" y="1738704"/>
          <a:ext cx="2082180" cy="3638209"/>
        </p:xfrm>
        <a:graphic>
          <a:graphicData uri="http://schemas.openxmlformats.org/drawingml/2006/table">
            <a:tbl>
              <a:tblPr firstRow="1"/>
              <a:tblGrid>
                <a:gridCol w="983311"/>
                <a:gridCol w="1098869"/>
              </a:tblGrid>
              <a:tr h="640374">
                <a:tc>
                  <a:txBody>
                    <a:bodyPr/>
                    <a:lstStyle/>
                    <a:p>
                      <a:pPr>
                        <a:defRPr sz="4500" b="0">
                          <a:latin typeface="DIN Alternate"/>
                          <a:ea typeface="DIN Alternate"/>
                          <a:cs typeface="DIN Alternate"/>
                          <a:sym typeface="DIN Alternate"/>
                        </a:defRPr>
                      </a:pPr>
                      <a:r>
                        <a:rPr sz="1700" dirty="0"/>
                        <a:t>Airport</a:t>
                      </a:r>
                    </a:p>
                    <a:p>
                      <a:pPr>
                        <a:defRPr sz="2500" b="0">
                          <a:latin typeface="DIN Alternate"/>
                          <a:ea typeface="DIN Alternate"/>
                          <a:cs typeface="DIN Alternate"/>
                          <a:sym typeface="DIN Alternate"/>
                        </a:defRPr>
                      </a:pPr>
                      <a:r>
                        <a:rPr sz="1000" dirty="0"/>
                        <a:t>2015 </a:t>
                      </a:r>
                      <a:r>
                        <a:rPr sz="1000" dirty="0" err="1"/>
                        <a:t>Pax</a:t>
                      </a:r>
                      <a:endParaRPr sz="1000" dirty="0"/>
                    </a:p>
                  </a:txBody>
                  <a:tcPr marL="19050" marR="19050" marT="19050" marB="19050" anchor="ctr" horzOverflow="overflow">
                    <a:solidFill>
                      <a:srgbClr val="2AB7C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700">
                          <a:solidFill>
                            <a:srgbClr val="FFFFFF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Area</a:t>
                      </a:r>
                    </a:p>
                  </a:txBody>
                  <a:tcPr marL="19050" marR="19050" marT="19050" marB="19050" anchor="ctr" horzOverflow="overflow">
                    <a:solidFill>
                      <a:srgbClr val="2AB7C6"/>
                    </a:solidFill>
                  </a:tcPr>
                </a:tc>
              </a:tr>
              <a:tr h="599567">
                <a:tc>
                  <a:txBody>
                    <a:bodyPr/>
                    <a:lstStyle/>
                    <a:p>
                      <a:pPr defTabSz="914400">
                        <a:defRPr sz="1800"/>
                      </a:pPr>
                      <a:r>
                        <a:rPr sz="110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Atlanta
101.5 MPPA</a:t>
                      </a:r>
                    </a:p>
                  </a:txBody>
                  <a:tcPr marL="19050" marR="19050" marT="19050" marB="19050" anchor="ctr" horzOverflow="overflow">
                    <a:lnL w="12700">
                      <a:solidFill>
                        <a:srgbClr val="606060"/>
                      </a:solidFill>
                      <a:miter lim="400000"/>
                    </a:ln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1800"/>
                      </a:pPr>
                      <a:r>
                        <a:rPr sz="110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1</a:t>
                      </a:r>
                      <a:r>
                        <a:rPr lang="fr-FR" sz="1100" baseline="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 </a:t>
                      </a:r>
                      <a:r>
                        <a:rPr sz="110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902 </a:t>
                      </a:r>
                      <a:r>
                        <a:rPr sz="1100" dirty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Hectare</a:t>
                      </a:r>
                    </a:p>
                  </a:txBody>
                  <a:tcPr marL="19050" marR="19050" marT="19050" marB="19050" anchor="ctr" horzOverflow="overflow">
                    <a:lnR w="12700">
                      <a:solidFill>
                        <a:srgbClr val="606060"/>
                      </a:solidFill>
                      <a:miter lim="400000"/>
                    </a:lnR>
                  </a:tcPr>
                </a:tc>
              </a:tr>
              <a:tr h="599567">
                <a:tc>
                  <a:txBody>
                    <a:bodyPr/>
                    <a:lstStyle/>
                    <a:p>
                      <a:pPr defTabSz="914400">
                        <a:defRPr sz="1800"/>
                      </a:pPr>
                      <a:r>
                        <a:rPr sz="1100" dirty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Istanbul Atatürk
</a:t>
                      </a:r>
                      <a:r>
                        <a:rPr lang="tr-TR" sz="110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61.3</a:t>
                      </a:r>
                      <a:r>
                        <a:rPr sz="110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 </a:t>
                      </a:r>
                      <a:r>
                        <a:rPr sz="1100" dirty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MPPA</a:t>
                      </a:r>
                    </a:p>
                  </a:txBody>
                  <a:tcPr marL="19050" marR="19050" marT="19050" marB="19050" anchor="ctr" horzOverflow="overflow">
                    <a:lnL w="12700">
                      <a:solidFill>
                        <a:srgbClr val="606060"/>
                      </a:solidFill>
                      <a:miter lim="400000"/>
                    </a:ln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1800"/>
                      </a:pPr>
                      <a:r>
                        <a:rPr sz="110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1</a:t>
                      </a:r>
                      <a:r>
                        <a:rPr lang="fr-FR" sz="1100" baseline="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 </a:t>
                      </a:r>
                      <a:r>
                        <a:rPr sz="110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165 </a:t>
                      </a:r>
                      <a:r>
                        <a:rPr sz="1100" dirty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Hectare</a:t>
                      </a:r>
                    </a:p>
                  </a:txBody>
                  <a:tcPr marL="19050" marR="19050" marT="19050" marB="19050" anchor="ctr" horzOverflow="overflow">
                    <a:lnR w="12700">
                      <a:solidFill>
                        <a:srgbClr val="606060"/>
                      </a:solidFill>
                      <a:miter lim="400000"/>
                    </a:lnR>
                  </a:tcPr>
                </a:tc>
              </a:tr>
              <a:tr h="599567">
                <a:tc>
                  <a:txBody>
                    <a:bodyPr/>
                    <a:lstStyle/>
                    <a:p>
                      <a:pPr defTabSz="914400">
                        <a:defRPr sz="1800"/>
                      </a:pPr>
                      <a:r>
                        <a:rPr sz="110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Beijing
89.9 MPPA</a:t>
                      </a:r>
                    </a:p>
                  </a:txBody>
                  <a:tcPr marL="19050" marR="19050" marT="19050" marB="19050" anchor="ctr" horzOverflow="overflow">
                    <a:lnL w="12700">
                      <a:solidFill>
                        <a:srgbClr val="606060"/>
                      </a:solidFill>
                      <a:miter lim="400000"/>
                    </a:ln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1800"/>
                      </a:pPr>
                      <a:r>
                        <a:rPr sz="110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2</a:t>
                      </a:r>
                      <a:r>
                        <a:rPr lang="fr-FR" sz="1100" baseline="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 </a:t>
                      </a:r>
                      <a:r>
                        <a:rPr sz="110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330 </a:t>
                      </a:r>
                      <a:r>
                        <a:rPr sz="1100" dirty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Hectare</a:t>
                      </a:r>
                    </a:p>
                  </a:txBody>
                  <a:tcPr marL="19050" marR="19050" marT="19050" marB="19050" anchor="ctr" horzOverflow="overflow">
                    <a:lnR w="12700">
                      <a:solidFill>
                        <a:srgbClr val="606060"/>
                      </a:solidFill>
                      <a:miter lim="400000"/>
                    </a:lnR>
                  </a:tcPr>
                </a:tc>
              </a:tr>
              <a:tr h="599567">
                <a:tc>
                  <a:txBody>
                    <a:bodyPr/>
                    <a:lstStyle/>
                    <a:p>
                      <a:pPr defTabSz="914400">
                        <a:defRPr sz="1800"/>
                      </a:pPr>
                      <a:r>
                        <a:rPr sz="110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London Heathrow
75.0 MPPA</a:t>
                      </a:r>
                    </a:p>
                  </a:txBody>
                  <a:tcPr marL="19050" marR="19050" marT="19050" marB="19050" anchor="ctr" horzOverflow="overflow">
                    <a:lnL w="12700">
                      <a:solidFill>
                        <a:srgbClr val="606060"/>
                      </a:solidFill>
                      <a:miter lim="400000"/>
                    </a:ln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1800"/>
                      </a:pPr>
                      <a:r>
                        <a:rPr sz="110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1</a:t>
                      </a:r>
                      <a:r>
                        <a:rPr lang="fr-FR" sz="1100" baseline="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 </a:t>
                      </a:r>
                      <a:r>
                        <a:rPr sz="1100" dirty="0" smtClean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227 </a:t>
                      </a:r>
                      <a:r>
                        <a:rPr sz="1100" dirty="0">
                          <a:solidFill>
                            <a:srgbClr val="424242"/>
                          </a:solidFill>
                          <a:latin typeface="DIN Alternate"/>
                          <a:ea typeface="DIN Alternate"/>
                          <a:cs typeface="DIN Alternate"/>
                          <a:sym typeface="DIN Alternate"/>
                        </a:rPr>
                        <a:t>Hectare</a:t>
                      </a:r>
                    </a:p>
                  </a:txBody>
                  <a:tcPr marL="19050" marR="19050" marT="19050" marB="19050" anchor="ctr" horzOverflow="overflow">
                    <a:lnR w="12700">
                      <a:solidFill>
                        <a:srgbClr val="606060"/>
                      </a:solidFill>
                      <a:miter lim="400000"/>
                    </a:lnR>
                  </a:tcPr>
                </a:tc>
              </a:tr>
              <a:tr h="599567">
                <a:tc>
                  <a:txBody>
                    <a:bodyPr/>
                    <a:lstStyle/>
                    <a:p>
                      <a:pPr defTabSz="914400">
                        <a:defRPr sz="1800"/>
                      </a:pPr>
                      <a:r>
                        <a:rPr sz="1100" b="1" dirty="0">
                          <a:solidFill>
                            <a:srgbClr val="30B3A1"/>
                          </a:solidFill>
                          <a:latin typeface="Futura Condensed"/>
                          <a:ea typeface="Futura Condensed"/>
                          <a:cs typeface="Futura Condensed"/>
                          <a:sym typeface="Futura Condensed"/>
                        </a:rPr>
                        <a:t>Istanbul
New Airport
90 MPPA</a:t>
                      </a:r>
                    </a:p>
                  </a:txBody>
                  <a:tcPr marL="19050" marR="19050" marT="19050" marB="19050" anchor="ctr" horzOverflow="overflow">
                    <a:lnL w="12700">
                      <a:solidFill>
                        <a:srgbClr val="606060"/>
                      </a:solidFill>
                      <a:miter lim="400000"/>
                    </a:lnL>
                    <a:lnB w="12700">
                      <a:solidFill>
                        <a:srgbClr val="60606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1800"/>
                      </a:pPr>
                      <a:r>
                        <a:rPr sz="1100" b="1" dirty="0" smtClean="0">
                          <a:solidFill>
                            <a:srgbClr val="30B3A1"/>
                          </a:solidFill>
                          <a:latin typeface="Futura Condensed"/>
                          <a:ea typeface="Futura Condensed"/>
                          <a:cs typeface="Futura Condensed"/>
                          <a:sym typeface="Futura Condensed"/>
                        </a:rPr>
                        <a:t>7</a:t>
                      </a:r>
                      <a:r>
                        <a:rPr lang="fr-FR" sz="1100" b="1" baseline="0" dirty="0" smtClean="0">
                          <a:solidFill>
                            <a:srgbClr val="30B3A1"/>
                          </a:solidFill>
                          <a:latin typeface="Futura Condensed"/>
                          <a:ea typeface="Futura Condensed"/>
                          <a:cs typeface="Futura Condensed"/>
                          <a:sym typeface="Futura Condensed"/>
                        </a:rPr>
                        <a:t> </a:t>
                      </a:r>
                      <a:r>
                        <a:rPr sz="1100" b="1" dirty="0" smtClean="0">
                          <a:solidFill>
                            <a:srgbClr val="30B3A1"/>
                          </a:solidFill>
                          <a:latin typeface="Futura Condensed"/>
                          <a:ea typeface="Futura Condensed"/>
                          <a:cs typeface="Futura Condensed"/>
                          <a:sym typeface="Futura Condensed"/>
                        </a:rPr>
                        <a:t>594 </a:t>
                      </a:r>
                      <a:r>
                        <a:rPr sz="1100" b="1" dirty="0">
                          <a:solidFill>
                            <a:srgbClr val="30B3A1"/>
                          </a:solidFill>
                          <a:latin typeface="Futura Condensed"/>
                          <a:ea typeface="Futura Condensed"/>
                          <a:cs typeface="Futura Condensed"/>
                          <a:sym typeface="Futura Condensed"/>
                        </a:rPr>
                        <a:t>Hectare</a:t>
                      </a:r>
                    </a:p>
                  </a:txBody>
                  <a:tcPr marL="19050" marR="19050" marT="19050" marB="19050" anchor="ctr" horzOverflow="overflow">
                    <a:lnR w="12700">
                      <a:solidFill>
                        <a:srgbClr val="606060"/>
                      </a:solidFill>
                      <a:miter lim="400000"/>
                    </a:lnR>
                    <a:lnB w="12700">
                      <a:solidFill>
                        <a:srgbClr val="606060"/>
                      </a:solidFill>
                      <a:miter lim="400000"/>
                    </a:lnB>
                  </a:tcPr>
                </a:tc>
              </a:tr>
            </a:tbl>
          </a:graphicData>
        </a:graphic>
      </p:graphicFrame>
      <p:pic>
        <p:nvPicPr>
          <p:cNvPr id="183" name="IGA_Logo_0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597893" y="5614058"/>
            <a:ext cx="310456" cy="310456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20145" y="1368267"/>
            <a:ext cx="9057380" cy="3888614"/>
            <a:chOff x="127039" y="733406"/>
            <a:chExt cx="8966322" cy="3849519"/>
          </a:xfrm>
        </p:grpSpPr>
        <p:sp>
          <p:nvSpPr>
            <p:cNvPr id="11" name="Metin kutusu 2"/>
            <p:cNvSpPr txBox="1"/>
            <p:nvPr/>
          </p:nvSpPr>
          <p:spPr>
            <a:xfrm>
              <a:off x="143193" y="733406"/>
              <a:ext cx="2613820" cy="2513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tr-TR" sz="105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tlanta </a:t>
              </a:r>
              <a:r>
                <a:rPr lang="tr-TR" sz="1050" b="1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irport</a:t>
              </a:r>
              <a:endParaRPr lang="tr-TR" sz="10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27039" y="772849"/>
              <a:ext cx="8966322" cy="3810076"/>
              <a:chOff x="127039" y="772849"/>
              <a:chExt cx="8966322" cy="3810076"/>
            </a:xfrm>
          </p:grpSpPr>
          <p:pic>
            <p:nvPicPr>
              <p:cNvPr id="13" name="Picture 2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6006"/>
              <a:stretch/>
            </p:blipFill>
            <p:spPr>
              <a:xfrm>
                <a:off x="128704" y="945249"/>
                <a:ext cx="3295577" cy="1742423"/>
              </a:xfrm>
              <a:prstGeom prst="rect">
                <a:avLst/>
              </a:prstGeom>
            </p:spPr>
          </p:pic>
          <p:pic>
            <p:nvPicPr>
              <p:cNvPr id="14" name="Picture 5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9482" y="2741289"/>
                <a:ext cx="3274020" cy="1841636"/>
              </a:xfrm>
              <a:prstGeom prst="rect">
                <a:avLst/>
              </a:prstGeom>
            </p:spPr>
          </p:pic>
          <p:pic>
            <p:nvPicPr>
              <p:cNvPr id="15" name="Picture 2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7580" y="854189"/>
                <a:ext cx="3274020" cy="1841636"/>
              </a:xfrm>
              <a:prstGeom prst="rect">
                <a:avLst/>
              </a:prstGeom>
            </p:spPr>
          </p:pic>
          <p:pic>
            <p:nvPicPr>
              <p:cNvPr id="16" name="Picture 25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2693" y="2747351"/>
                <a:ext cx="3252464" cy="1829511"/>
              </a:xfrm>
              <a:prstGeom prst="rect">
                <a:avLst/>
              </a:prstGeom>
            </p:spPr>
          </p:pic>
          <p:sp>
            <p:nvSpPr>
              <p:cNvPr id="17" name="Dikdörtgen 11"/>
              <p:cNvSpPr/>
              <p:nvPr/>
            </p:nvSpPr>
            <p:spPr>
              <a:xfrm>
                <a:off x="5712693" y="772849"/>
                <a:ext cx="1592580" cy="21346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675"/>
              </a:p>
            </p:txBody>
          </p:sp>
          <p:sp>
            <p:nvSpPr>
              <p:cNvPr id="18" name="Dikdörtgen 12"/>
              <p:cNvSpPr/>
              <p:nvPr/>
            </p:nvSpPr>
            <p:spPr>
              <a:xfrm>
                <a:off x="5712693" y="2662815"/>
                <a:ext cx="1592580" cy="21346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675"/>
              </a:p>
            </p:txBody>
          </p:sp>
          <p:sp>
            <p:nvSpPr>
              <p:cNvPr id="19" name="Dikdörtgen 13"/>
              <p:cNvSpPr/>
              <p:nvPr/>
            </p:nvSpPr>
            <p:spPr>
              <a:xfrm>
                <a:off x="128704" y="2641951"/>
                <a:ext cx="1592580" cy="21346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675"/>
              </a:p>
            </p:txBody>
          </p:sp>
          <p:sp>
            <p:nvSpPr>
              <p:cNvPr id="20" name="Metin kutusu 14"/>
              <p:cNvSpPr txBox="1"/>
              <p:nvPr/>
            </p:nvSpPr>
            <p:spPr>
              <a:xfrm>
                <a:off x="5681748" y="796410"/>
                <a:ext cx="3411613" cy="2513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tr-TR" sz="1050" b="1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London</a:t>
                </a:r>
                <a:r>
                  <a:rPr lang="tr-TR" sz="105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tr-TR" sz="1050" b="1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Heatrow</a:t>
                </a:r>
                <a:r>
                  <a:rPr lang="tr-TR" sz="105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tr-TR" sz="1050" b="1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irport</a:t>
                </a:r>
                <a:endParaRPr lang="tr-TR" sz="105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1" name="Metin kutusu 15"/>
              <p:cNvSpPr txBox="1"/>
              <p:nvPr/>
            </p:nvSpPr>
            <p:spPr>
              <a:xfrm>
                <a:off x="127039" y="2678413"/>
                <a:ext cx="3411613" cy="2513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tr-TR" sz="105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İstanbul Atatürk </a:t>
                </a:r>
                <a:r>
                  <a:rPr lang="tr-TR" sz="1050" b="1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irport</a:t>
                </a:r>
                <a:endParaRPr lang="tr-TR" sz="105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2" name="Metin kutusu 16"/>
              <p:cNvSpPr txBox="1"/>
              <p:nvPr/>
            </p:nvSpPr>
            <p:spPr>
              <a:xfrm>
                <a:off x="5635036" y="2697356"/>
                <a:ext cx="2250897" cy="2513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tr-TR" sz="1050" b="1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Beijing</a:t>
                </a:r>
                <a:r>
                  <a:rPr lang="tr-TR" sz="105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tr-TR" sz="1050" b="1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irport</a:t>
                </a:r>
                <a:endParaRPr lang="tr-TR" sz="105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3" name="Freeform 22"/>
              <p:cNvSpPr/>
              <p:nvPr/>
            </p:nvSpPr>
            <p:spPr>
              <a:xfrm>
                <a:off x="762001" y="1190624"/>
                <a:ext cx="704850" cy="823913"/>
              </a:xfrm>
              <a:custGeom>
                <a:avLst/>
                <a:gdLst>
                  <a:gd name="connsiteX0" fmla="*/ 19050 w 573881"/>
                  <a:gd name="connsiteY0" fmla="*/ 9525 h 692944"/>
                  <a:gd name="connsiteX1" fmla="*/ 285750 w 573881"/>
                  <a:gd name="connsiteY1" fmla="*/ 0 h 692944"/>
                  <a:gd name="connsiteX2" fmla="*/ 419100 w 573881"/>
                  <a:gd name="connsiteY2" fmla="*/ 2381 h 692944"/>
                  <a:gd name="connsiteX3" fmla="*/ 573881 w 573881"/>
                  <a:gd name="connsiteY3" fmla="*/ 142875 h 692944"/>
                  <a:gd name="connsiteX4" fmla="*/ 573881 w 573881"/>
                  <a:gd name="connsiteY4" fmla="*/ 638175 h 692944"/>
                  <a:gd name="connsiteX5" fmla="*/ 483394 w 573881"/>
                  <a:gd name="connsiteY5" fmla="*/ 692944 h 692944"/>
                  <a:gd name="connsiteX6" fmla="*/ 280988 w 573881"/>
                  <a:gd name="connsiteY6" fmla="*/ 673894 h 692944"/>
                  <a:gd name="connsiteX7" fmla="*/ 197644 w 573881"/>
                  <a:gd name="connsiteY7" fmla="*/ 521494 h 692944"/>
                  <a:gd name="connsiteX8" fmla="*/ 178594 w 573881"/>
                  <a:gd name="connsiteY8" fmla="*/ 400050 h 692944"/>
                  <a:gd name="connsiteX9" fmla="*/ 114300 w 573881"/>
                  <a:gd name="connsiteY9" fmla="*/ 397669 h 692944"/>
                  <a:gd name="connsiteX10" fmla="*/ 114300 w 573881"/>
                  <a:gd name="connsiteY10" fmla="*/ 514350 h 692944"/>
                  <a:gd name="connsiteX11" fmla="*/ 0 w 573881"/>
                  <a:gd name="connsiteY11" fmla="*/ 504825 h 692944"/>
                  <a:gd name="connsiteX12" fmla="*/ 19050 w 573881"/>
                  <a:gd name="connsiteY12" fmla="*/ 9525 h 692944"/>
                  <a:gd name="connsiteX0" fmla="*/ 19050 w 704850"/>
                  <a:gd name="connsiteY0" fmla="*/ 9525 h 692944"/>
                  <a:gd name="connsiteX1" fmla="*/ 285750 w 704850"/>
                  <a:gd name="connsiteY1" fmla="*/ 0 h 692944"/>
                  <a:gd name="connsiteX2" fmla="*/ 419100 w 704850"/>
                  <a:gd name="connsiteY2" fmla="*/ 2381 h 692944"/>
                  <a:gd name="connsiteX3" fmla="*/ 573881 w 704850"/>
                  <a:gd name="connsiteY3" fmla="*/ 142875 h 692944"/>
                  <a:gd name="connsiteX4" fmla="*/ 704850 w 704850"/>
                  <a:gd name="connsiteY4" fmla="*/ 557212 h 692944"/>
                  <a:gd name="connsiteX5" fmla="*/ 483394 w 704850"/>
                  <a:gd name="connsiteY5" fmla="*/ 692944 h 692944"/>
                  <a:gd name="connsiteX6" fmla="*/ 280988 w 704850"/>
                  <a:gd name="connsiteY6" fmla="*/ 673894 h 692944"/>
                  <a:gd name="connsiteX7" fmla="*/ 197644 w 704850"/>
                  <a:gd name="connsiteY7" fmla="*/ 521494 h 692944"/>
                  <a:gd name="connsiteX8" fmla="*/ 178594 w 704850"/>
                  <a:gd name="connsiteY8" fmla="*/ 400050 h 692944"/>
                  <a:gd name="connsiteX9" fmla="*/ 114300 w 704850"/>
                  <a:gd name="connsiteY9" fmla="*/ 397669 h 692944"/>
                  <a:gd name="connsiteX10" fmla="*/ 114300 w 704850"/>
                  <a:gd name="connsiteY10" fmla="*/ 514350 h 692944"/>
                  <a:gd name="connsiteX11" fmla="*/ 0 w 704850"/>
                  <a:gd name="connsiteY11" fmla="*/ 504825 h 692944"/>
                  <a:gd name="connsiteX12" fmla="*/ 19050 w 704850"/>
                  <a:gd name="connsiteY12" fmla="*/ 9525 h 692944"/>
                  <a:gd name="connsiteX0" fmla="*/ 19050 w 704850"/>
                  <a:gd name="connsiteY0" fmla="*/ 9525 h 731044"/>
                  <a:gd name="connsiteX1" fmla="*/ 285750 w 704850"/>
                  <a:gd name="connsiteY1" fmla="*/ 0 h 731044"/>
                  <a:gd name="connsiteX2" fmla="*/ 419100 w 704850"/>
                  <a:gd name="connsiteY2" fmla="*/ 2381 h 731044"/>
                  <a:gd name="connsiteX3" fmla="*/ 573881 w 704850"/>
                  <a:gd name="connsiteY3" fmla="*/ 142875 h 731044"/>
                  <a:gd name="connsiteX4" fmla="*/ 704850 w 704850"/>
                  <a:gd name="connsiteY4" fmla="*/ 557212 h 731044"/>
                  <a:gd name="connsiteX5" fmla="*/ 578644 w 704850"/>
                  <a:gd name="connsiteY5" fmla="*/ 731044 h 731044"/>
                  <a:gd name="connsiteX6" fmla="*/ 280988 w 704850"/>
                  <a:gd name="connsiteY6" fmla="*/ 673894 h 731044"/>
                  <a:gd name="connsiteX7" fmla="*/ 197644 w 704850"/>
                  <a:gd name="connsiteY7" fmla="*/ 521494 h 731044"/>
                  <a:gd name="connsiteX8" fmla="*/ 178594 w 704850"/>
                  <a:gd name="connsiteY8" fmla="*/ 400050 h 731044"/>
                  <a:gd name="connsiteX9" fmla="*/ 114300 w 704850"/>
                  <a:gd name="connsiteY9" fmla="*/ 397669 h 731044"/>
                  <a:gd name="connsiteX10" fmla="*/ 114300 w 704850"/>
                  <a:gd name="connsiteY10" fmla="*/ 514350 h 731044"/>
                  <a:gd name="connsiteX11" fmla="*/ 0 w 704850"/>
                  <a:gd name="connsiteY11" fmla="*/ 504825 h 731044"/>
                  <a:gd name="connsiteX12" fmla="*/ 19050 w 704850"/>
                  <a:gd name="connsiteY12" fmla="*/ 9525 h 731044"/>
                  <a:gd name="connsiteX0" fmla="*/ 19050 w 704850"/>
                  <a:gd name="connsiteY0" fmla="*/ 102394 h 823913"/>
                  <a:gd name="connsiteX1" fmla="*/ 285750 w 704850"/>
                  <a:gd name="connsiteY1" fmla="*/ 92869 h 823913"/>
                  <a:gd name="connsiteX2" fmla="*/ 326231 w 704850"/>
                  <a:gd name="connsiteY2" fmla="*/ 0 h 823913"/>
                  <a:gd name="connsiteX3" fmla="*/ 573881 w 704850"/>
                  <a:gd name="connsiteY3" fmla="*/ 235744 h 823913"/>
                  <a:gd name="connsiteX4" fmla="*/ 704850 w 704850"/>
                  <a:gd name="connsiteY4" fmla="*/ 650081 h 823913"/>
                  <a:gd name="connsiteX5" fmla="*/ 578644 w 704850"/>
                  <a:gd name="connsiteY5" fmla="*/ 823913 h 823913"/>
                  <a:gd name="connsiteX6" fmla="*/ 280988 w 704850"/>
                  <a:gd name="connsiteY6" fmla="*/ 766763 h 823913"/>
                  <a:gd name="connsiteX7" fmla="*/ 197644 w 704850"/>
                  <a:gd name="connsiteY7" fmla="*/ 614363 h 823913"/>
                  <a:gd name="connsiteX8" fmla="*/ 178594 w 704850"/>
                  <a:gd name="connsiteY8" fmla="*/ 492919 h 823913"/>
                  <a:gd name="connsiteX9" fmla="*/ 114300 w 704850"/>
                  <a:gd name="connsiteY9" fmla="*/ 490538 h 823913"/>
                  <a:gd name="connsiteX10" fmla="*/ 114300 w 704850"/>
                  <a:gd name="connsiteY10" fmla="*/ 607219 h 823913"/>
                  <a:gd name="connsiteX11" fmla="*/ 0 w 704850"/>
                  <a:gd name="connsiteY11" fmla="*/ 597694 h 823913"/>
                  <a:gd name="connsiteX12" fmla="*/ 19050 w 704850"/>
                  <a:gd name="connsiteY12" fmla="*/ 102394 h 823913"/>
                  <a:gd name="connsiteX0" fmla="*/ 19050 w 704850"/>
                  <a:gd name="connsiteY0" fmla="*/ 102394 h 823913"/>
                  <a:gd name="connsiteX1" fmla="*/ 211932 w 704850"/>
                  <a:gd name="connsiteY1" fmla="*/ 21432 h 823913"/>
                  <a:gd name="connsiteX2" fmla="*/ 326231 w 704850"/>
                  <a:gd name="connsiteY2" fmla="*/ 0 h 823913"/>
                  <a:gd name="connsiteX3" fmla="*/ 573881 w 704850"/>
                  <a:gd name="connsiteY3" fmla="*/ 235744 h 823913"/>
                  <a:gd name="connsiteX4" fmla="*/ 704850 w 704850"/>
                  <a:gd name="connsiteY4" fmla="*/ 650081 h 823913"/>
                  <a:gd name="connsiteX5" fmla="*/ 578644 w 704850"/>
                  <a:gd name="connsiteY5" fmla="*/ 823913 h 823913"/>
                  <a:gd name="connsiteX6" fmla="*/ 280988 w 704850"/>
                  <a:gd name="connsiteY6" fmla="*/ 766763 h 823913"/>
                  <a:gd name="connsiteX7" fmla="*/ 197644 w 704850"/>
                  <a:gd name="connsiteY7" fmla="*/ 614363 h 823913"/>
                  <a:gd name="connsiteX8" fmla="*/ 178594 w 704850"/>
                  <a:gd name="connsiteY8" fmla="*/ 492919 h 823913"/>
                  <a:gd name="connsiteX9" fmla="*/ 114300 w 704850"/>
                  <a:gd name="connsiteY9" fmla="*/ 490538 h 823913"/>
                  <a:gd name="connsiteX10" fmla="*/ 114300 w 704850"/>
                  <a:gd name="connsiteY10" fmla="*/ 607219 h 823913"/>
                  <a:gd name="connsiteX11" fmla="*/ 0 w 704850"/>
                  <a:gd name="connsiteY11" fmla="*/ 597694 h 823913"/>
                  <a:gd name="connsiteX12" fmla="*/ 19050 w 704850"/>
                  <a:gd name="connsiteY12" fmla="*/ 102394 h 823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04850" h="823913">
                    <a:moveTo>
                      <a:pt x="19050" y="102394"/>
                    </a:moveTo>
                    <a:lnTo>
                      <a:pt x="211932" y="21432"/>
                    </a:lnTo>
                    <a:cubicBezTo>
                      <a:pt x="263129" y="4366"/>
                      <a:pt x="312737" y="30956"/>
                      <a:pt x="326231" y="0"/>
                    </a:cubicBezTo>
                    <a:lnTo>
                      <a:pt x="573881" y="235744"/>
                    </a:lnTo>
                    <a:lnTo>
                      <a:pt x="704850" y="650081"/>
                    </a:lnTo>
                    <a:lnTo>
                      <a:pt x="578644" y="823913"/>
                    </a:lnTo>
                    <a:lnTo>
                      <a:pt x="280988" y="766763"/>
                    </a:lnTo>
                    <a:lnTo>
                      <a:pt x="197644" y="614363"/>
                    </a:lnTo>
                    <a:lnTo>
                      <a:pt x="178594" y="492919"/>
                    </a:lnTo>
                    <a:lnTo>
                      <a:pt x="114300" y="490538"/>
                    </a:lnTo>
                    <a:lnTo>
                      <a:pt x="114300" y="607219"/>
                    </a:lnTo>
                    <a:lnTo>
                      <a:pt x="0" y="597694"/>
                    </a:lnTo>
                    <a:lnTo>
                      <a:pt x="19050" y="102394"/>
                    </a:lnTo>
                    <a:close/>
                  </a:path>
                </a:pathLst>
              </a:custGeom>
              <a:noFill/>
              <a:ln w="57150">
                <a:solidFill>
                  <a:schemeClr val="bg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9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tlanta</a:t>
                </a:r>
                <a:endPara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24" name="Freeform 23"/>
              <p:cNvSpPr/>
              <p:nvPr/>
            </p:nvSpPr>
            <p:spPr>
              <a:xfrm>
                <a:off x="1023938" y="3529806"/>
                <a:ext cx="526256" cy="599282"/>
              </a:xfrm>
              <a:custGeom>
                <a:avLst/>
                <a:gdLst>
                  <a:gd name="connsiteX0" fmla="*/ 0 w 526256"/>
                  <a:gd name="connsiteY0" fmla="*/ 0 h 585788"/>
                  <a:gd name="connsiteX1" fmla="*/ 33337 w 526256"/>
                  <a:gd name="connsiteY1" fmla="*/ 273844 h 585788"/>
                  <a:gd name="connsiteX2" fmla="*/ 73818 w 526256"/>
                  <a:gd name="connsiteY2" fmla="*/ 350044 h 585788"/>
                  <a:gd name="connsiteX3" fmla="*/ 69056 w 526256"/>
                  <a:gd name="connsiteY3" fmla="*/ 504825 h 585788"/>
                  <a:gd name="connsiteX4" fmla="*/ 140493 w 526256"/>
                  <a:gd name="connsiteY4" fmla="*/ 585788 h 585788"/>
                  <a:gd name="connsiteX5" fmla="*/ 304800 w 526256"/>
                  <a:gd name="connsiteY5" fmla="*/ 502444 h 585788"/>
                  <a:gd name="connsiteX6" fmla="*/ 330993 w 526256"/>
                  <a:gd name="connsiteY6" fmla="*/ 535781 h 585788"/>
                  <a:gd name="connsiteX7" fmla="*/ 466725 w 526256"/>
                  <a:gd name="connsiteY7" fmla="*/ 469106 h 585788"/>
                  <a:gd name="connsiteX8" fmla="*/ 521493 w 526256"/>
                  <a:gd name="connsiteY8" fmla="*/ 383381 h 585788"/>
                  <a:gd name="connsiteX9" fmla="*/ 526256 w 526256"/>
                  <a:gd name="connsiteY9" fmla="*/ 295275 h 585788"/>
                  <a:gd name="connsiteX10" fmla="*/ 502443 w 526256"/>
                  <a:gd name="connsiteY10" fmla="*/ 209550 h 585788"/>
                  <a:gd name="connsiteX11" fmla="*/ 309562 w 526256"/>
                  <a:gd name="connsiteY11" fmla="*/ 111919 h 585788"/>
                  <a:gd name="connsiteX12" fmla="*/ 240506 w 526256"/>
                  <a:gd name="connsiteY12" fmla="*/ 97631 h 585788"/>
                  <a:gd name="connsiteX13" fmla="*/ 192881 w 526256"/>
                  <a:gd name="connsiteY13" fmla="*/ 95250 h 585788"/>
                  <a:gd name="connsiteX14" fmla="*/ 180975 w 526256"/>
                  <a:gd name="connsiteY14" fmla="*/ 92869 h 585788"/>
                  <a:gd name="connsiteX15" fmla="*/ 164306 w 526256"/>
                  <a:gd name="connsiteY15" fmla="*/ 21431 h 585788"/>
                  <a:gd name="connsiteX16" fmla="*/ 0 w 526256"/>
                  <a:gd name="connsiteY16" fmla="*/ 0 h 585788"/>
                  <a:gd name="connsiteX0" fmla="*/ 0 w 526256"/>
                  <a:gd name="connsiteY0" fmla="*/ 0 h 585788"/>
                  <a:gd name="connsiteX1" fmla="*/ 33337 w 526256"/>
                  <a:gd name="connsiteY1" fmla="*/ 273844 h 585788"/>
                  <a:gd name="connsiteX2" fmla="*/ 73818 w 526256"/>
                  <a:gd name="connsiteY2" fmla="*/ 350044 h 585788"/>
                  <a:gd name="connsiteX3" fmla="*/ 69056 w 526256"/>
                  <a:gd name="connsiteY3" fmla="*/ 504825 h 585788"/>
                  <a:gd name="connsiteX4" fmla="*/ 140493 w 526256"/>
                  <a:gd name="connsiteY4" fmla="*/ 585788 h 585788"/>
                  <a:gd name="connsiteX5" fmla="*/ 304800 w 526256"/>
                  <a:gd name="connsiteY5" fmla="*/ 502444 h 585788"/>
                  <a:gd name="connsiteX6" fmla="*/ 330993 w 526256"/>
                  <a:gd name="connsiteY6" fmla="*/ 535781 h 585788"/>
                  <a:gd name="connsiteX7" fmla="*/ 466725 w 526256"/>
                  <a:gd name="connsiteY7" fmla="*/ 469106 h 585788"/>
                  <a:gd name="connsiteX8" fmla="*/ 521493 w 526256"/>
                  <a:gd name="connsiteY8" fmla="*/ 383381 h 585788"/>
                  <a:gd name="connsiteX9" fmla="*/ 526256 w 526256"/>
                  <a:gd name="connsiteY9" fmla="*/ 295275 h 585788"/>
                  <a:gd name="connsiteX10" fmla="*/ 502443 w 526256"/>
                  <a:gd name="connsiteY10" fmla="*/ 209550 h 585788"/>
                  <a:gd name="connsiteX11" fmla="*/ 277812 w 526256"/>
                  <a:gd name="connsiteY11" fmla="*/ 223044 h 585788"/>
                  <a:gd name="connsiteX12" fmla="*/ 240506 w 526256"/>
                  <a:gd name="connsiteY12" fmla="*/ 97631 h 585788"/>
                  <a:gd name="connsiteX13" fmla="*/ 192881 w 526256"/>
                  <a:gd name="connsiteY13" fmla="*/ 95250 h 585788"/>
                  <a:gd name="connsiteX14" fmla="*/ 180975 w 526256"/>
                  <a:gd name="connsiteY14" fmla="*/ 92869 h 585788"/>
                  <a:gd name="connsiteX15" fmla="*/ 164306 w 526256"/>
                  <a:gd name="connsiteY15" fmla="*/ 21431 h 585788"/>
                  <a:gd name="connsiteX16" fmla="*/ 0 w 526256"/>
                  <a:gd name="connsiteY16" fmla="*/ 0 h 585788"/>
                  <a:gd name="connsiteX0" fmla="*/ 0 w 526256"/>
                  <a:gd name="connsiteY0" fmla="*/ 13494 h 599282"/>
                  <a:gd name="connsiteX1" fmla="*/ 33337 w 526256"/>
                  <a:gd name="connsiteY1" fmla="*/ 287338 h 599282"/>
                  <a:gd name="connsiteX2" fmla="*/ 73818 w 526256"/>
                  <a:gd name="connsiteY2" fmla="*/ 363538 h 599282"/>
                  <a:gd name="connsiteX3" fmla="*/ 69056 w 526256"/>
                  <a:gd name="connsiteY3" fmla="*/ 518319 h 599282"/>
                  <a:gd name="connsiteX4" fmla="*/ 140493 w 526256"/>
                  <a:gd name="connsiteY4" fmla="*/ 599282 h 599282"/>
                  <a:gd name="connsiteX5" fmla="*/ 304800 w 526256"/>
                  <a:gd name="connsiteY5" fmla="*/ 515938 h 599282"/>
                  <a:gd name="connsiteX6" fmla="*/ 330993 w 526256"/>
                  <a:gd name="connsiteY6" fmla="*/ 549275 h 599282"/>
                  <a:gd name="connsiteX7" fmla="*/ 466725 w 526256"/>
                  <a:gd name="connsiteY7" fmla="*/ 482600 h 599282"/>
                  <a:gd name="connsiteX8" fmla="*/ 521493 w 526256"/>
                  <a:gd name="connsiteY8" fmla="*/ 396875 h 599282"/>
                  <a:gd name="connsiteX9" fmla="*/ 526256 w 526256"/>
                  <a:gd name="connsiteY9" fmla="*/ 308769 h 599282"/>
                  <a:gd name="connsiteX10" fmla="*/ 502443 w 526256"/>
                  <a:gd name="connsiteY10" fmla="*/ 223044 h 599282"/>
                  <a:gd name="connsiteX11" fmla="*/ 277812 w 526256"/>
                  <a:gd name="connsiteY11" fmla="*/ 236538 h 599282"/>
                  <a:gd name="connsiteX12" fmla="*/ 240506 w 526256"/>
                  <a:gd name="connsiteY12" fmla="*/ 111125 h 599282"/>
                  <a:gd name="connsiteX13" fmla="*/ 192881 w 526256"/>
                  <a:gd name="connsiteY13" fmla="*/ 108744 h 599282"/>
                  <a:gd name="connsiteX14" fmla="*/ 180975 w 526256"/>
                  <a:gd name="connsiteY14" fmla="*/ 106363 h 599282"/>
                  <a:gd name="connsiteX15" fmla="*/ 161131 w 526256"/>
                  <a:gd name="connsiteY15" fmla="*/ 0 h 599282"/>
                  <a:gd name="connsiteX16" fmla="*/ 0 w 526256"/>
                  <a:gd name="connsiteY16" fmla="*/ 13494 h 599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6256" h="599282">
                    <a:moveTo>
                      <a:pt x="0" y="13494"/>
                    </a:moveTo>
                    <a:lnTo>
                      <a:pt x="33337" y="287338"/>
                    </a:lnTo>
                    <a:lnTo>
                      <a:pt x="73818" y="363538"/>
                    </a:lnTo>
                    <a:lnTo>
                      <a:pt x="69056" y="518319"/>
                    </a:lnTo>
                    <a:lnTo>
                      <a:pt x="140493" y="599282"/>
                    </a:lnTo>
                    <a:lnTo>
                      <a:pt x="304800" y="515938"/>
                    </a:lnTo>
                    <a:lnTo>
                      <a:pt x="330993" y="549275"/>
                    </a:lnTo>
                    <a:lnTo>
                      <a:pt x="466725" y="482600"/>
                    </a:lnTo>
                    <a:lnTo>
                      <a:pt x="521493" y="396875"/>
                    </a:lnTo>
                    <a:lnTo>
                      <a:pt x="526256" y="308769"/>
                    </a:lnTo>
                    <a:lnTo>
                      <a:pt x="502443" y="223044"/>
                    </a:lnTo>
                    <a:lnTo>
                      <a:pt x="277812" y="236538"/>
                    </a:lnTo>
                    <a:lnTo>
                      <a:pt x="240506" y="111125"/>
                    </a:lnTo>
                    <a:lnTo>
                      <a:pt x="192881" y="108744"/>
                    </a:lnTo>
                    <a:lnTo>
                      <a:pt x="180975" y="106363"/>
                    </a:lnTo>
                    <a:lnTo>
                      <a:pt x="161131" y="0"/>
                    </a:lnTo>
                    <a:lnTo>
                      <a:pt x="0" y="13494"/>
                    </a:lnTo>
                    <a:close/>
                  </a:path>
                </a:pathLst>
              </a:custGeom>
              <a:noFill/>
              <a:ln w="57150">
                <a:solidFill>
                  <a:schemeClr val="bg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900" b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tatürk</a:t>
                </a:r>
                <a:endParaRPr lang="en-US" sz="9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25" name="Freeform 24"/>
              <p:cNvSpPr/>
              <p:nvPr/>
            </p:nvSpPr>
            <p:spPr>
              <a:xfrm>
                <a:off x="7765256" y="1962150"/>
                <a:ext cx="809625" cy="376238"/>
              </a:xfrm>
              <a:custGeom>
                <a:avLst/>
                <a:gdLst>
                  <a:gd name="connsiteX0" fmla="*/ 7144 w 809625"/>
                  <a:gd name="connsiteY0" fmla="*/ 4763 h 376238"/>
                  <a:gd name="connsiteX1" fmla="*/ 0 w 809625"/>
                  <a:gd name="connsiteY1" fmla="*/ 295275 h 376238"/>
                  <a:gd name="connsiteX2" fmla="*/ 180975 w 809625"/>
                  <a:gd name="connsiteY2" fmla="*/ 311944 h 376238"/>
                  <a:gd name="connsiteX3" fmla="*/ 233363 w 809625"/>
                  <a:gd name="connsiteY3" fmla="*/ 376238 h 376238"/>
                  <a:gd name="connsiteX4" fmla="*/ 292894 w 809625"/>
                  <a:gd name="connsiteY4" fmla="*/ 371475 h 376238"/>
                  <a:gd name="connsiteX5" fmla="*/ 478632 w 809625"/>
                  <a:gd name="connsiteY5" fmla="*/ 288131 h 376238"/>
                  <a:gd name="connsiteX6" fmla="*/ 547688 w 809625"/>
                  <a:gd name="connsiteY6" fmla="*/ 278606 h 376238"/>
                  <a:gd name="connsiteX7" fmla="*/ 650082 w 809625"/>
                  <a:gd name="connsiteY7" fmla="*/ 276225 h 376238"/>
                  <a:gd name="connsiteX8" fmla="*/ 809625 w 809625"/>
                  <a:gd name="connsiteY8" fmla="*/ 219075 h 376238"/>
                  <a:gd name="connsiteX9" fmla="*/ 807244 w 809625"/>
                  <a:gd name="connsiteY9" fmla="*/ 0 h 376238"/>
                  <a:gd name="connsiteX10" fmla="*/ 7144 w 809625"/>
                  <a:gd name="connsiteY10" fmla="*/ 4763 h 376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09625" h="376238">
                    <a:moveTo>
                      <a:pt x="7144" y="4763"/>
                    </a:moveTo>
                    <a:lnTo>
                      <a:pt x="0" y="295275"/>
                    </a:lnTo>
                    <a:lnTo>
                      <a:pt x="180975" y="311944"/>
                    </a:lnTo>
                    <a:lnTo>
                      <a:pt x="233363" y="376238"/>
                    </a:lnTo>
                    <a:lnTo>
                      <a:pt x="292894" y="371475"/>
                    </a:lnTo>
                    <a:lnTo>
                      <a:pt x="478632" y="288131"/>
                    </a:lnTo>
                    <a:lnTo>
                      <a:pt x="547688" y="278606"/>
                    </a:lnTo>
                    <a:lnTo>
                      <a:pt x="650082" y="276225"/>
                    </a:lnTo>
                    <a:lnTo>
                      <a:pt x="809625" y="219075"/>
                    </a:lnTo>
                    <a:cubicBezTo>
                      <a:pt x="808831" y="146050"/>
                      <a:pt x="808038" y="73025"/>
                      <a:pt x="807244" y="0"/>
                    </a:cubicBezTo>
                    <a:lnTo>
                      <a:pt x="7144" y="4763"/>
                    </a:lnTo>
                    <a:close/>
                  </a:path>
                </a:pathLst>
              </a:custGeom>
              <a:noFill/>
              <a:ln w="57150">
                <a:solidFill>
                  <a:schemeClr val="bg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900" b="1" dirty="0" err="1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Heatrow</a:t>
                </a:r>
                <a:endParaRPr lang="en-US" sz="9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6329363" y="3162300"/>
                <a:ext cx="573881" cy="1007269"/>
              </a:xfrm>
              <a:prstGeom prst="rect">
                <a:avLst/>
              </a:prstGeom>
              <a:noFill/>
              <a:ln w="57150">
                <a:solidFill>
                  <a:schemeClr val="bg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900" b="1" dirty="0" err="1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Beijing</a:t>
                </a:r>
                <a:endParaRPr lang="en-US" sz="9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1984917" y="987019"/>
                <a:ext cx="1388607" cy="319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stanbul</a:t>
                </a:r>
                <a:r>
                  <a:rPr lang="tr-TR" sz="750" b="1" dirty="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New </a:t>
                </a:r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irport</a:t>
                </a:r>
                <a:r>
                  <a:rPr lang="tr-TR" sz="750" b="1" dirty="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Boundaries</a:t>
                </a:r>
                <a:endParaRPr lang="en-US" sz="75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cxnSp>
            <p:nvCxnSpPr>
              <p:cNvPr id="28" name="Straight Arrow Connector 27"/>
              <p:cNvCxnSpPr>
                <a:stCxn id="27" idx="2"/>
              </p:cNvCxnSpPr>
              <p:nvPr/>
            </p:nvCxnSpPr>
            <p:spPr>
              <a:xfrm flipH="1">
                <a:off x="2100148" y="1306935"/>
                <a:ext cx="579073" cy="310032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sp>
            <p:nvSpPr>
              <p:cNvPr id="29" name="TextBox 28"/>
              <p:cNvSpPr txBox="1"/>
              <p:nvPr/>
            </p:nvSpPr>
            <p:spPr>
              <a:xfrm>
                <a:off x="1894679" y="4007775"/>
                <a:ext cx="1388607" cy="319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stanbul</a:t>
                </a:r>
                <a:r>
                  <a:rPr lang="tr-TR" sz="750" b="1" dirty="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New </a:t>
                </a:r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irport</a:t>
                </a:r>
                <a:r>
                  <a:rPr lang="tr-TR" sz="750" b="1" dirty="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Boundaries</a:t>
                </a:r>
                <a:endParaRPr lang="en-US" sz="75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cxnSp>
            <p:nvCxnSpPr>
              <p:cNvPr id="30" name="Straight Arrow Connector 29"/>
              <p:cNvCxnSpPr/>
              <p:nvPr/>
            </p:nvCxnSpPr>
            <p:spPr>
              <a:xfrm flipH="1" flipV="1">
                <a:off x="2151199" y="3920341"/>
                <a:ext cx="283451" cy="87434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sp>
            <p:nvSpPr>
              <p:cNvPr id="31" name="TextBox 30"/>
              <p:cNvSpPr txBox="1"/>
              <p:nvPr/>
            </p:nvSpPr>
            <p:spPr>
              <a:xfrm>
                <a:off x="7685537" y="954217"/>
                <a:ext cx="1388607" cy="319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stanbul</a:t>
                </a:r>
                <a:r>
                  <a:rPr lang="tr-TR" sz="750" b="1" dirty="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New </a:t>
                </a:r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irport</a:t>
                </a:r>
                <a:r>
                  <a:rPr lang="tr-TR" sz="750" b="1" dirty="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Boundaries</a:t>
                </a:r>
                <a:endParaRPr lang="en-US" sz="75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cxnSp>
            <p:nvCxnSpPr>
              <p:cNvPr id="32" name="Straight Arrow Connector 31"/>
              <p:cNvCxnSpPr>
                <a:stCxn id="31" idx="2"/>
              </p:cNvCxnSpPr>
              <p:nvPr/>
            </p:nvCxnSpPr>
            <p:spPr>
              <a:xfrm flipH="1">
                <a:off x="7961971" y="1274133"/>
                <a:ext cx="417870" cy="399767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sp>
            <p:nvSpPr>
              <p:cNvPr id="33" name="TextBox 32"/>
              <p:cNvSpPr txBox="1"/>
              <p:nvPr/>
            </p:nvSpPr>
            <p:spPr>
              <a:xfrm>
                <a:off x="7501642" y="3322057"/>
                <a:ext cx="1388607" cy="319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stanbul</a:t>
                </a:r>
                <a:r>
                  <a:rPr lang="tr-TR" sz="750" b="1" dirty="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New </a:t>
                </a:r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irport</a:t>
                </a:r>
                <a:r>
                  <a:rPr lang="tr-TR" sz="750" b="1" dirty="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tr-TR" sz="750" b="1" dirty="0" err="1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Boundaries</a:t>
                </a:r>
                <a:endParaRPr lang="en-US" sz="75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cxnSp>
            <p:nvCxnSpPr>
              <p:cNvPr id="34" name="Straight Arrow Connector 33"/>
              <p:cNvCxnSpPr/>
              <p:nvPr/>
            </p:nvCxnSpPr>
            <p:spPr>
              <a:xfrm flipH="1">
                <a:off x="7828156" y="3722687"/>
                <a:ext cx="367790" cy="12820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</p:grpSp>
      </p:grpSp>
      <p:sp>
        <p:nvSpPr>
          <p:cNvPr id="35" name="Shape 127"/>
          <p:cNvSpPr/>
          <p:nvPr/>
        </p:nvSpPr>
        <p:spPr>
          <a:xfrm>
            <a:off x="9782825" y="5805315"/>
            <a:ext cx="773033" cy="1580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6789" tIns="26789" rIns="26789" bIns="26789" anchor="b">
            <a:normAutofit/>
          </a:bodyPr>
          <a:lstStyle>
            <a:lvl1pPr algn="l">
              <a:defRPr sz="2500">
                <a:solidFill>
                  <a:srgbClr val="D6D6D6"/>
                </a:solidFill>
                <a:latin typeface="DIN Alternate"/>
                <a:ea typeface="DIN Alternate"/>
                <a:cs typeface="DIN Alternate"/>
                <a:sym typeface="DIN Alternate"/>
                <a:hlinkClick r:id=""/>
              </a:defRPr>
            </a:lvl1pPr>
          </a:lstStyle>
          <a:p>
            <a:r>
              <a:rPr sz="675" i="1" dirty="0"/>
              <a:t>www.igairport.com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5102622" y="5413324"/>
            <a:ext cx="955376" cy="523220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FF0000"/>
                </a:solidFill>
              </a:rPr>
              <a:t>AIBD: </a:t>
            </a:r>
          </a:p>
          <a:p>
            <a:r>
              <a:rPr lang="fr-FR" sz="1400" b="1" dirty="0">
                <a:solidFill>
                  <a:srgbClr val="FF0000"/>
                </a:solidFill>
              </a:rPr>
              <a:t> 3 MPPA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6073822" y="5411145"/>
            <a:ext cx="1097210" cy="523220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FF0000"/>
                </a:solidFill>
              </a:rPr>
              <a:t>4 500 Hectares</a:t>
            </a:r>
          </a:p>
        </p:txBody>
      </p:sp>
      <p:pic>
        <p:nvPicPr>
          <p:cNvPr id="36" name="Picture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1648" y="5166537"/>
            <a:ext cx="3285495" cy="1848091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7885458" y="5561087"/>
            <a:ext cx="798367" cy="369332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pic>
        <p:nvPicPr>
          <p:cNvPr id="37" name="Shape 280"/>
          <p:cNvPicPr preferRelativeResize="0"/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440950" y="24694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Image 37" descr="AIBD sa"/>
          <p:cNvPicPr/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409262" y="-16828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55467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AIBD sa"/>
          <p:cNvPicPr/>
          <p:nvPr/>
        </p:nvPicPr>
        <p:blipFill>
          <a:blip r:embed="rId2" cstate="print"/>
          <a:srcRect l="1625" t="2960" r="1625" b="2960"/>
          <a:stretch>
            <a:fillRect/>
          </a:stretch>
        </p:blipFill>
        <p:spPr bwMode="auto">
          <a:xfrm>
            <a:off x="8904312" y="0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ZoneTexte 4"/>
          <p:cNvSpPr txBox="1"/>
          <p:nvPr/>
        </p:nvSpPr>
        <p:spPr>
          <a:xfrm>
            <a:off x="3143672" y="476672"/>
            <a:ext cx="5832648" cy="4001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000" b="1" dirty="0"/>
              <a:t>INFRASTRUCTURES AERONAUTIQUES</a:t>
            </a:r>
          </a:p>
        </p:txBody>
      </p:sp>
      <p:graphicFrame>
        <p:nvGraphicFramePr>
          <p:cNvPr id="6" name="Diagramme 5"/>
          <p:cNvGraphicFramePr/>
          <p:nvPr>
            <p:extLst/>
          </p:nvPr>
        </p:nvGraphicFramePr>
        <p:xfrm>
          <a:off x="1847528" y="1340768"/>
          <a:ext cx="8424936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15</a:t>
            </a:fld>
            <a:endParaRPr lang="fr-FR"/>
          </a:p>
        </p:txBody>
      </p:sp>
      <p:pic>
        <p:nvPicPr>
          <p:cNvPr id="8" name="Shape 280"/>
          <p:cNvPicPr preferRelativeResize="0"/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728471" y="78533"/>
            <a:ext cx="998308" cy="952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245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AIBD sa"/>
          <p:cNvPicPr/>
          <p:nvPr/>
        </p:nvPicPr>
        <p:blipFill>
          <a:blip r:embed="rId2" cstate="print"/>
          <a:srcRect l="1625" t="2960" r="1625" b="2960"/>
          <a:stretch>
            <a:fillRect/>
          </a:stretch>
        </p:blipFill>
        <p:spPr bwMode="auto">
          <a:xfrm>
            <a:off x="8904312" y="0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ZoneTexte 4"/>
          <p:cNvSpPr txBox="1"/>
          <p:nvPr/>
        </p:nvSpPr>
        <p:spPr>
          <a:xfrm>
            <a:off x="3143672" y="476672"/>
            <a:ext cx="5832648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b="1" dirty="0"/>
              <a:t>PARKINGS AVION</a:t>
            </a:r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1321032605"/>
              </p:ext>
            </p:extLst>
          </p:nvPr>
        </p:nvGraphicFramePr>
        <p:xfrm>
          <a:off x="1919536" y="1061203"/>
          <a:ext cx="8424936" cy="54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ZoneTexte 5"/>
          <p:cNvSpPr txBox="1"/>
          <p:nvPr/>
        </p:nvSpPr>
        <p:spPr>
          <a:xfrm>
            <a:off x="8184232" y="2060849"/>
            <a:ext cx="2088232" cy="3139321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fr-FR" dirty="0"/>
              <a:t>Tango	      14p</a:t>
            </a:r>
          </a:p>
          <a:p>
            <a:pPr>
              <a:buFont typeface="Arial" charset="0"/>
              <a:buChar char="•"/>
            </a:pPr>
            <a:r>
              <a:rPr lang="fr-FR" dirty="0"/>
              <a:t>Juliette1      8p</a:t>
            </a:r>
          </a:p>
          <a:p>
            <a:pPr>
              <a:buFont typeface="Arial" charset="0"/>
              <a:buChar char="•"/>
            </a:pPr>
            <a:r>
              <a:rPr lang="fr-FR" dirty="0"/>
              <a:t>Juliette 2   10p</a:t>
            </a:r>
          </a:p>
          <a:p>
            <a:pPr>
              <a:buFont typeface="Arial" charset="0"/>
              <a:buChar char="•"/>
            </a:pPr>
            <a:r>
              <a:rPr lang="fr-FR" dirty="0"/>
              <a:t>Novembre  12p</a:t>
            </a:r>
          </a:p>
          <a:p>
            <a:pPr>
              <a:buFont typeface="Arial" charset="0"/>
              <a:buChar char="•"/>
            </a:pPr>
            <a:r>
              <a:rPr lang="fr-FR" dirty="0"/>
              <a:t> Fret            2p</a:t>
            </a:r>
          </a:p>
          <a:p>
            <a:pPr>
              <a:buFont typeface="Arial" charset="0"/>
              <a:buChar char="•"/>
            </a:pPr>
            <a:r>
              <a:rPr lang="fr-FR" dirty="0"/>
              <a:t>Maintenance 1p</a:t>
            </a:r>
          </a:p>
          <a:p>
            <a:pPr>
              <a:buFont typeface="Arial" charset="0"/>
              <a:buChar char="•"/>
            </a:pPr>
            <a:r>
              <a:rPr lang="fr-FR" dirty="0"/>
              <a:t>Présidentiel  2p</a:t>
            </a:r>
          </a:p>
          <a:p>
            <a:pPr>
              <a:buFont typeface="Arial" charset="0"/>
              <a:buChar char="•"/>
            </a:pPr>
            <a:r>
              <a:rPr lang="fr-FR" dirty="0"/>
              <a:t>Aviation général       18p</a:t>
            </a:r>
          </a:p>
          <a:p>
            <a:pPr>
              <a:buFont typeface="Arial" charset="0"/>
              <a:buChar char="•"/>
            </a:pPr>
            <a:endParaRPr lang="fr-FR" dirty="0"/>
          </a:p>
          <a:p>
            <a:pPr>
              <a:buFont typeface="Arial" charset="0"/>
              <a:buChar char="•"/>
            </a:pPr>
            <a:endParaRPr lang="fr-FR" dirty="0"/>
          </a:p>
        </p:txBody>
      </p:sp>
      <p:sp>
        <p:nvSpPr>
          <p:cNvPr id="8" name="ZoneTexte 7"/>
          <p:cNvSpPr txBox="1"/>
          <p:nvPr/>
        </p:nvSpPr>
        <p:spPr>
          <a:xfrm>
            <a:off x="8112224" y="1124744"/>
            <a:ext cx="2232248" cy="400110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rgbClr val="FFFF00"/>
                </a:solidFill>
              </a:rPr>
              <a:t>260 000 m2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16</a:t>
            </a:fld>
            <a:endParaRPr lang="fr-FR"/>
          </a:p>
        </p:txBody>
      </p:sp>
      <p:pic>
        <p:nvPicPr>
          <p:cNvPr id="10" name="Shape 280"/>
          <p:cNvPicPr preferRelativeResize="0"/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420382" y="-2913"/>
            <a:ext cx="998308" cy="952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66475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143672" y="476672"/>
            <a:ext cx="5832648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b="1" dirty="0"/>
              <a:t>INFRASTRUCTURES NON AERONAUTIQUES</a:t>
            </a:r>
          </a:p>
        </p:txBody>
      </p:sp>
      <p:graphicFrame>
        <p:nvGraphicFramePr>
          <p:cNvPr id="6" name="Diagramme 5"/>
          <p:cNvGraphicFramePr/>
          <p:nvPr>
            <p:extLst/>
          </p:nvPr>
        </p:nvGraphicFramePr>
        <p:xfrm>
          <a:off x="1847528" y="1340768"/>
          <a:ext cx="8424936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17</a:t>
            </a:fld>
            <a:endParaRPr lang="fr-FR"/>
          </a:p>
        </p:txBody>
      </p:sp>
      <p:pic>
        <p:nvPicPr>
          <p:cNvPr id="8" name="Shape 280"/>
          <p:cNvPicPr preferRelativeResize="0"/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487221" y="39266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 descr="AIBD sa"/>
          <p:cNvPicPr/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96438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143672" y="476672"/>
            <a:ext cx="5832648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b="1" dirty="0"/>
              <a:t>BATIMENTS</a:t>
            </a:r>
          </a:p>
        </p:txBody>
      </p:sp>
      <p:graphicFrame>
        <p:nvGraphicFramePr>
          <p:cNvPr id="7" name="Diagramme 6"/>
          <p:cNvGraphicFramePr/>
          <p:nvPr>
            <p:extLst/>
          </p:nvPr>
        </p:nvGraphicFramePr>
        <p:xfrm>
          <a:off x="1919536" y="980728"/>
          <a:ext cx="8496944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ZoneTexte 5"/>
          <p:cNvSpPr txBox="1"/>
          <p:nvPr/>
        </p:nvSpPr>
        <p:spPr>
          <a:xfrm>
            <a:off x="7176120" y="2852936"/>
            <a:ext cx="2664296" cy="107721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FR" sz="1600" b="1" dirty="0"/>
              <a:t>Composée d’un RDC et d’un étage : elle occupe </a:t>
            </a:r>
          </a:p>
          <a:p>
            <a:r>
              <a:rPr lang="fr-FR" sz="1600" b="1" dirty="0"/>
              <a:t>3 770 m2 avec 50 m de hauteur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18</a:t>
            </a:fld>
            <a:endParaRPr lang="fr-FR"/>
          </a:p>
        </p:txBody>
      </p:sp>
      <p:pic>
        <p:nvPicPr>
          <p:cNvPr id="9" name="Shape 280"/>
          <p:cNvPicPr preferRelativeResize="0"/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590904" y="18061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AIBD sa"/>
          <p:cNvPicPr/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209211" y="145930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6837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19</a:t>
            </a:fld>
            <a:endParaRPr lang="fr-FR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528" y="332656"/>
            <a:ext cx="4463988" cy="2975992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606" y="332656"/>
            <a:ext cx="4463988" cy="2975992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4804" y="3501008"/>
            <a:ext cx="4406950" cy="3096344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4012" y="3501008"/>
            <a:ext cx="4644516" cy="3096344"/>
          </a:xfrm>
          <a:prstGeom prst="rect">
            <a:avLst/>
          </a:prstGeom>
        </p:spPr>
      </p:pic>
      <p:pic>
        <p:nvPicPr>
          <p:cNvPr id="9" name="Shape 280"/>
          <p:cNvPicPr preferRelativeResize="0"/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921695" y="-19769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AIBD sa"/>
          <p:cNvPicPr/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848528" y="122091"/>
            <a:ext cx="1172022" cy="665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41447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Shape 190"/>
          <p:cNvSpPr/>
          <p:nvPr/>
        </p:nvSpPr>
        <p:spPr>
          <a:xfrm>
            <a:off x="5490028" y="883621"/>
            <a:ext cx="6080881" cy="843579"/>
          </a:xfrm>
          <a:prstGeom prst="roundRect">
            <a:avLst>
              <a:gd name="adj" fmla="val 13209"/>
            </a:avLst>
          </a:prstGeom>
          <a:solidFill>
            <a:srgbClr val="023A51"/>
          </a:solidFill>
          <a:ln>
            <a:noFill/>
          </a:ln>
          <a:effectLst>
            <a:outerShdw blurRad="50799" dist="38100" dir="2700000" algn="tl" rotWithShape="0">
              <a:srgbClr val="000000">
                <a:alpha val="40000"/>
              </a:srgbClr>
            </a:outerShdw>
          </a:effectLst>
        </p:spPr>
        <p:txBody>
          <a:bodyPr lIns="5486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fr-CA" sz="1600" b="1" i="0" u="none" strike="noStrike" cap="small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adre de </a:t>
            </a:r>
            <a:r>
              <a:rPr lang="fr-CA" sz="1600" b="1" i="0" u="none" strike="noStrike" cap="small" dirty="0" err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ference</a:t>
            </a:r>
            <a:r>
              <a:rPr lang="fr-CA" sz="1600" b="1" i="0" u="none" strike="noStrike" cap="small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des politiques de </a:t>
            </a:r>
            <a:r>
              <a:rPr lang="fr-CA" sz="1600" b="1" i="0" u="none" strike="noStrike" cap="small" dirty="0" smtClean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éveloppement de </a:t>
            </a:r>
            <a:r>
              <a:rPr lang="fr-CA" sz="1600" b="1" i="0" u="none" strike="noStrike" cap="small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’État</a:t>
            </a:r>
          </a:p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fr-CA" sz="1600" b="1" i="0" u="none" strike="noStrike" cap="small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lan Sénégal Émergent - PSE</a:t>
            </a:r>
          </a:p>
        </p:txBody>
      </p:sp>
      <p:sp>
        <p:nvSpPr>
          <p:cNvPr id="191" name="Shape 191"/>
          <p:cNvSpPr/>
          <p:nvPr/>
        </p:nvSpPr>
        <p:spPr>
          <a:xfrm>
            <a:off x="4436112" y="1896904"/>
            <a:ext cx="7531522" cy="4817532"/>
          </a:xfrm>
          <a:prstGeom prst="roundRect">
            <a:avLst>
              <a:gd name="adj" fmla="val 1831"/>
            </a:avLst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182875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fr-CA" sz="1400" b="1" i="0" u="none" strike="noStrike" cap="none" dirty="0">
                <a:solidFill>
                  <a:srgbClr val="0070C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«Un Sénégal émergent en 2035 avec une société</a:t>
            </a:r>
          </a:p>
          <a:p>
            <a:pPr marL="0" marR="0" lvl="0" indent="0" algn="ctr" rtl="0">
              <a:spcBef>
                <a:spcPts val="600"/>
              </a:spcBef>
              <a:spcAft>
                <a:spcPts val="0"/>
              </a:spcAft>
              <a:buSzPct val="25000"/>
              <a:buNone/>
            </a:pPr>
            <a:r>
              <a:rPr lang="fr-CA" sz="1400" b="1" i="0" u="none" strike="noStrike" cap="none" dirty="0">
                <a:solidFill>
                  <a:srgbClr val="0070C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olidaire et dans un État de droit</a:t>
            </a:r>
            <a:r>
              <a:rPr lang="fr-CA" sz="1400" b="1" i="0" u="none" strike="noStrike" cap="none" dirty="0" smtClean="0">
                <a:solidFill>
                  <a:srgbClr val="0070C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»</a:t>
            </a:r>
            <a:endParaRPr sz="14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342900" marR="0" lvl="1" indent="-342900" algn="just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Noto Sans Symbols"/>
              <a:buChar char="•"/>
            </a:pPr>
            <a:r>
              <a:rPr lang="fr-CA" sz="16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ans la première phase des actions prioritaires (2014-2018) 27 projets phares et 17 réformes sont mises en œuvre. </a:t>
            </a:r>
            <a:endParaRPr lang="fr-CA" sz="1600" b="0" i="0" u="none" strike="noStrike" cap="none" dirty="0" smtClean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342900" marR="0" lvl="1" indent="-342900" algn="just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Noto Sans Symbols"/>
              <a:buChar char="•"/>
            </a:pPr>
            <a:r>
              <a:rPr lang="fr-CA" sz="1600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armi ces projets et réformes phares, le Ministère du Tourisme et des Transports Aériens est chargé de l’exécution et du suivi :</a:t>
            </a:r>
          </a:p>
          <a:p>
            <a:pPr marL="800100" lvl="2" indent="-342900" algn="just">
              <a:spcBef>
                <a:spcPts val="600"/>
              </a:spcBef>
              <a:buClr>
                <a:schemeClr val="accent1"/>
              </a:buClr>
              <a:buSzPct val="100000"/>
              <a:buFont typeface="Noto Sans Symbols"/>
              <a:buChar char="•"/>
            </a:pPr>
            <a:r>
              <a:rPr lang="fr-CA" sz="1600" b="1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e projet de développement de 3 à 6 zones touristiques intégrées</a:t>
            </a:r>
            <a:r>
              <a:rPr lang="fr-CA" sz="16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lang="fr-CA" sz="1600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Être parmi le top 5 des pays touristiques en Afrique, en triplant le nombre de touristes à plus de 3 millions par an.</a:t>
            </a:r>
            <a:endParaRPr lang="fr-CA" sz="1600" b="1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800100" lvl="2" indent="-342900" algn="just">
              <a:spcBef>
                <a:spcPts val="600"/>
              </a:spcBef>
              <a:buClr>
                <a:schemeClr val="accent1"/>
              </a:buClr>
              <a:buSzPct val="100000"/>
              <a:buFont typeface="Noto Sans Symbols"/>
              <a:buChar char="•"/>
            </a:pPr>
            <a:r>
              <a:rPr lang="fr-CA" sz="1600" b="1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e plan de développement sectoriel du micro-tourisme : </a:t>
            </a:r>
            <a:r>
              <a:rPr lang="fr-CA" sz="1600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utiliser le tourisme comme vecteur de développement social et territorial, via la promotion de la création de </a:t>
            </a:r>
            <a:r>
              <a:rPr lang="fr-CA" sz="1600" dirty="0" err="1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micro-entreprises</a:t>
            </a:r>
            <a:r>
              <a:rPr lang="fr-CA" sz="1600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touristiques.</a:t>
            </a:r>
            <a:endParaRPr lang="fr-CA" sz="1600" b="1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800100" lvl="2" indent="-342900" algn="just">
              <a:spcBef>
                <a:spcPts val="600"/>
              </a:spcBef>
              <a:buClr>
                <a:schemeClr val="accent1"/>
              </a:buClr>
              <a:buSzPct val="100000"/>
              <a:buFont typeface="Noto Sans Symbols"/>
              <a:buChar char="•"/>
            </a:pPr>
            <a:r>
              <a:rPr lang="fr-CA" sz="1600" b="1" i="0" u="none" strike="noStrike" cap="none" dirty="0" smtClean="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ojet de Relance du Hub Aérien Sous Régional </a:t>
            </a:r>
            <a:r>
              <a:rPr lang="fr-CA" sz="1600" b="0" i="0" u="none" strike="noStrike" cap="none" dirty="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: </a:t>
            </a:r>
            <a:r>
              <a:rPr lang="fr-CA" sz="1600" b="0" i="0" u="none" strike="noStrike" cap="none" dirty="0" smtClean="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evenir le 1</a:t>
            </a:r>
            <a:r>
              <a:rPr lang="fr-CA" sz="1600" b="0" i="0" u="none" strike="noStrike" cap="none" baseline="30000" dirty="0" smtClean="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er</a:t>
            </a:r>
            <a:r>
              <a:rPr lang="fr-CA" sz="1600" b="0" i="0" u="none" strike="noStrike" cap="none" dirty="0" smtClean="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hub aérien de la région, avec un trafic passant de 2 millions de voyageurs par an à 5 millions en 2023 et 10 millions en 2035.</a:t>
            </a:r>
            <a:endParaRPr lang="fr-CA" sz="1600" b="0" i="0" u="none" strike="noStrike" cap="none" dirty="0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just" rtl="0">
              <a:spcBef>
                <a:spcPts val="600"/>
              </a:spcBef>
              <a:spcAft>
                <a:spcPts val="0"/>
              </a:spcAft>
              <a:buNone/>
            </a:pPr>
            <a:endParaRPr b="0" i="0" u="none" strike="noStrike" cap="none" dirty="0">
              <a:solidFill>
                <a:schemeClr val="accent3"/>
              </a:solidFill>
              <a:latin typeface="Cambria"/>
              <a:ea typeface="Cambria"/>
              <a:cs typeface="Cambria"/>
              <a:sym typeface="Cambria"/>
            </a:endParaRPr>
          </a:p>
          <a:p>
            <a:pPr marL="0" marR="0" lvl="0" indent="0" algn="just" rtl="0">
              <a:spcBef>
                <a:spcPts val="600"/>
              </a:spcBef>
              <a:buNone/>
            </a:pPr>
            <a:endParaRPr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92" name="Shape 192"/>
          <p:cNvPicPr preferRelativeResize="0"/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642408" y="1635153"/>
            <a:ext cx="3793704" cy="4293659"/>
          </a:xfrm>
          <a:prstGeom prst="rect">
            <a:avLst/>
          </a:prstGeom>
          <a:noFill/>
          <a:ln>
            <a:noFill/>
          </a:ln>
          <a:effectLst>
            <a:reflection stA="30000" endPos="30000" dist="5000" dir="5400000" sy="-100000" algn="bl" rotWithShape="0"/>
          </a:effectLst>
        </p:spPr>
      </p:pic>
      <p:pic>
        <p:nvPicPr>
          <p:cNvPr id="193" name="Shape 19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09615" y="169332"/>
            <a:ext cx="1287117" cy="950015"/>
          </a:xfrm>
          <a:prstGeom prst="rect">
            <a:avLst/>
          </a:prstGeom>
          <a:noFill/>
          <a:ln>
            <a:noFill/>
          </a:ln>
        </p:spPr>
      </p:pic>
      <p:sp>
        <p:nvSpPr>
          <p:cNvPr id="194" name="Shape 194"/>
          <p:cNvSpPr txBox="1"/>
          <p:nvPr/>
        </p:nvSpPr>
        <p:spPr>
          <a:xfrm>
            <a:off x="956733" y="169332"/>
            <a:ext cx="9448800" cy="646331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fr-CA" sz="36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FONDEMENTS DU PSE</a:t>
            </a:r>
          </a:p>
        </p:txBody>
      </p:sp>
    </p:spTree>
    <p:extLst>
      <p:ext uri="{BB962C8B-B14F-4D97-AF65-F5344CB8AC3E}">
        <p14:creationId xmlns:p14="http://schemas.microsoft.com/office/powerpoint/2010/main" val="4199199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20</a:t>
            </a:fld>
            <a:endParaRPr lang="fr-FR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0" y="260648"/>
            <a:ext cx="4788024" cy="3192016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0" y="3525748"/>
            <a:ext cx="4788024" cy="3256052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3544" y="260648"/>
            <a:ext cx="4104456" cy="3192016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858" y="3525748"/>
            <a:ext cx="4420143" cy="3256052"/>
          </a:xfrm>
          <a:prstGeom prst="rect">
            <a:avLst/>
          </a:prstGeom>
        </p:spPr>
      </p:pic>
      <p:pic>
        <p:nvPicPr>
          <p:cNvPr id="8" name="Shape 280"/>
          <p:cNvPicPr preferRelativeResize="0"/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812425" y="1"/>
            <a:ext cx="787775" cy="666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 descr="AIBD sa"/>
          <p:cNvPicPr/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1039475" y="4998"/>
            <a:ext cx="800100" cy="782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8747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143672" y="476672"/>
            <a:ext cx="5832648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b="1" dirty="0"/>
              <a:t>BATIMENTS</a:t>
            </a:r>
          </a:p>
        </p:txBody>
      </p:sp>
      <p:graphicFrame>
        <p:nvGraphicFramePr>
          <p:cNvPr id="7" name="Diagramme 6"/>
          <p:cNvGraphicFramePr/>
          <p:nvPr>
            <p:extLst/>
          </p:nvPr>
        </p:nvGraphicFramePr>
        <p:xfrm>
          <a:off x="1847528" y="1268760"/>
          <a:ext cx="8496944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ZoneTexte 5"/>
          <p:cNvSpPr txBox="1"/>
          <p:nvPr/>
        </p:nvSpPr>
        <p:spPr>
          <a:xfrm>
            <a:off x="7464152" y="3068960"/>
            <a:ext cx="2880320" cy="181588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1"/>
            <a:r>
              <a:rPr lang="fr-FR" sz="1600" dirty="0"/>
              <a:t>- Surveillance par Camera</a:t>
            </a:r>
            <a:endParaRPr lang="fr-FR" sz="2400" dirty="0"/>
          </a:p>
          <a:p>
            <a:pPr lvl="1"/>
            <a:r>
              <a:rPr lang="fr-FR" sz="1600" dirty="0"/>
              <a:t> - Détecteurs à rayon X</a:t>
            </a:r>
            <a:endParaRPr lang="fr-FR" sz="2400" dirty="0"/>
          </a:p>
          <a:p>
            <a:pPr lvl="1"/>
            <a:r>
              <a:rPr lang="fr-FR" sz="1600" dirty="0"/>
              <a:t> - Sonorisation</a:t>
            </a:r>
            <a:endParaRPr lang="fr-FR" sz="2400" dirty="0"/>
          </a:p>
          <a:p>
            <a:pPr lvl="1"/>
            <a:r>
              <a:rPr lang="fr-FR" sz="1600" dirty="0"/>
              <a:t> - Infirmerie</a:t>
            </a:r>
            <a:endParaRPr lang="fr-FR" sz="2400" dirty="0"/>
          </a:p>
          <a:p>
            <a:pPr lvl="1"/>
            <a:r>
              <a:rPr lang="fr-FR" sz="1600" dirty="0"/>
              <a:t> - Facilitation de haute   gamme</a:t>
            </a:r>
            <a:endParaRPr lang="fr-FR" sz="2400" dirty="0"/>
          </a:p>
          <a:p>
            <a:endParaRPr lang="fr-FR" sz="16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21</a:t>
            </a:fld>
            <a:endParaRPr lang="fr-FR"/>
          </a:p>
        </p:txBody>
      </p:sp>
      <p:pic>
        <p:nvPicPr>
          <p:cNvPr id="9" name="Shape 280"/>
          <p:cNvPicPr preferRelativeResize="0"/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451992" y="0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AIBD sa"/>
          <p:cNvPicPr/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209211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07286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143672" y="476672"/>
            <a:ext cx="5832648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b="1" dirty="0"/>
              <a:t>BATIMENTS  </a:t>
            </a:r>
            <a:r>
              <a:rPr lang="fr-FR" b="1" dirty="0" smtClean="0"/>
              <a:t>SÉCURITÉ INCENDIE et HANGAR</a:t>
            </a:r>
            <a:endParaRPr lang="fr-FR" b="1" dirty="0"/>
          </a:p>
        </p:txBody>
      </p:sp>
      <p:graphicFrame>
        <p:nvGraphicFramePr>
          <p:cNvPr id="7" name="Diagramme 6"/>
          <p:cNvGraphicFramePr/>
          <p:nvPr>
            <p:extLst/>
          </p:nvPr>
        </p:nvGraphicFramePr>
        <p:xfrm>
          <a:off x="1991544" y="1124744"/>
          <a:ext cx="8208912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ZoneTexte 8"/>
          <p:cNvSpPr txBox="1"/>
          <p:nvPr/>
        </p:nvSpPr>
        <p:spPr>
          <a:xfrm>
            <a:off x="2639616" y="4365104"/>
            <a:ext cx="3240360" cy="1569660"/>
          </a:xfrm>
          <a:prstGeom prst="rect">
            <a:avLst/>
          </a:prstGeom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sz="1200" b="1" dirty="0"/>
              <a:t>Bâtiment SAPEURS : 1 600 m2</a:t>
            </a:r>
          </a:p>
          <a:p>
            <a:endParaRPr lang="fr-FR" sz="1200" b="1" dirty="0"/>
          </a:p>
          <a:p>
            <a:pPr marL="228600" indent="-228600">
              <a:buAutoNum type="arabicPlain" startAt="4"/>
            </a:pPr>
            <a:r>
              <a:rPr lang="fr-FR" sz="1200" b="1" dirty="0"/>
              <a:t>Véhicules moyenne puissance</a:t>
            </a:r>
          </a:p>
          <a:p>
            <a:pPr marL="228600" indent="-228600">
              <a:buAutoNum type="arabicPlain"/>
            </a:pPr>
            <a:r>
              <a:rPr lang="fr-FR" sz="1200" b="1" dirty="0"/>
              <a:t>Véhicule 1ere intervention</a:t>
            </a:r>
          </a:p>
          <a:p>
            <a:pPr marL="228600" indent="-228600">
              <a:buAutoNum type="arabicPlain" startAt="2"/>
            </a:pPr>
            <a:r>
              <a:rPr lang="fr-FR" sz="1200" b="1" dirty="0"/>
              <a:t>Ambulances</a:t>
            </a:r>
          </a:p>
          <a:p>
            <a:pPr marL="228600" indent="-228600"/>
            <a:r>
              <a:rPr lang="fr-FR" sz="1200" b="1" dirty="0"/>
              <a:t>6  Véhicules tout terrain</a:t>
            </a:r>
          </a:p>
          <a:p>
            <a:endParaRPr lang="fr-FR" sz="1200" b="1" dirty="0"/>
          </a:p>
          <a:p>
            <a:endParaRPr lang="fr-FR" sz="1200" b="1" dirty="0"/>
          </a:p>
        </p:txBody>
      </p:sp>
      <p:sp>
        <p:nvSpPr>
          <p:cNvPr id="10" name="ZoneTexte 9"/>
          <p:cNvSpPr txBox="1"/>
          <p:nvPr/>
        </p:nvSpPr>
        <p:spPr>
          <a:xfrm>
            <a:off x="6744072" y="4077073"/>
            <a:ext cx="3240360" cy="1200329"/>
          </a:xfrm>
          <a:prstGeom prst="rect">
            <a:avLst/>
          </a:prstGeom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sz="1200" b="1" dirty="0"/>
              <a:t>Hangar de maintenance aéronautique : 1 250 m2</a:t>
            </a:r>
          </a:p>
          <a:p>
            <a:endParaRPr lang="fr-FR" sz="1200" dirty="0"/>
          </a:p>
          <a:p>
            <a:r>
              <a:rPr lang="fr-FR" sz="1200" b="1" dirty="0"/>
              <a:t> </a:t>
            </a:r>
          </a:p>
          <a:p>
            <a:endParaRPr lang="fr-FR" sz="1200" b="1" dirty="0"/>
          </a:p>
          <a:p>
            <a:endParaRPr lang="fr-FR" sz="1200" b="1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024" y="1225329"/>
            <a:ext cx="3923928" cy="2851743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4" y="1272076"/>
            <a:ext cx="4247964" cy="2831976"/>
          </a:xfrm>
          <a:prstGeom prst="rect">
            <a:avLst/>
          </a:prstGeom>
        </p:spPr>
      </p:pic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22</a:t>
            </a:fld>
            <a:endParaRPr lang="fr-FR"/>
          </a:p>
        </p:txBody>
      </p:sp>
      <p:pic>
        <p:nvPicPr>
          <p:cNvPr id="12" name="Shape 280"/>
          <p:cNvPicPr preferRelativeResize="0"/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451992" y="0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 12" descr="AIBD sa"/>
          <p:cNvPicPr/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94200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143672" y="476672"/>
            <a:ext cx="5832648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b="1" dirty="0"/>
              <a:t>AEROGARE FRET ET AEROGARE PELERINS</a:t>
            </a:r>
          </a:p>
        </p:txBody>
      </p:sp>
      <p:sp>
        <p:nvSpPr>
          <p:cNvPr id="8" name="Rectangle 7"/>
          <p:cNvSpPr/>
          <p:nvPr/>
        </p:nvSpPr>
        <p:spPr>
          <a:xfrm>
            <a:off x="1919536" y="1124744"/>
            <a:ext cx="3240360" cy="1743988"/>
          </a:xfrm>
          <a:prstGeom prst="rect">
            <a:avLst/>
          </a:prstGeom>
          <a:blipFill rotWithShape="0">
            <a:blip r:embed="rId2" cstate="print"/>
            <a:stretch>
              <a:fillRect/>
            </a:stretch>
          </a:blipFill>
          <a:ln w="38100">
            <a:solidFill>
              <a:schemeClr val="accent1"/>
            </a:solidFill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ZoneTexte 10"/>
          <p:cNvSpPr txBox="1"/>
          <p:nvPr/>
        </p:nvSpPr>
        <p:spPr>
          <a:xfrm>
            <a:off x="1919536" y="2996953"/>
            <a:ext cx="3240360" cy="1200329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sz="1200" b="1" dirty="0"/>
              <a:t>Bâtiment administratif: 3 000 m2</a:t>
            </a:r>
          </a:p>
          <a:p>
            <a:r>
              <a:rPr lang="fr-FR" sz="1200" b="1" dirty="0"/>
              <a:t>Aérogare fret : 5 600 m2</a:t>
            </a:r>
          </a:p>
          <a:p>
            <a:r>
              <a:rPr lang="fr-FR" sz="1200" b="1" dirty="0"/>
              <a:t>Dont zone import (2500 m2) zone export(2100 m2) et zone services (1000 m2).</a:t>
            </a:r>
          </a:p>
          <a:p>
            <a:endParaRPr lang="fr-FR" sz="1200" dirty="0"/>
          </a:p>
          <a:p>
            <a:r>
              <a:rPr lang="fr-FR" sz="1200" b="1" dirty="0"/>
              <a:t>Capacité totale : 50 000 tonnes/an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6518880" y="4369364"/>
            <a:ext cx="3240360" cy="1200329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sz="1200" b="1" dirty="0"/>
              <a:t>Aérogare pèlerins : 2 270 m2</a:t>
            </a:r>
          </a:p>
          <a:p>
            <a:r>
              <a:rPr lang="fr-FR" sz="1200" b="1" dirty="0"/>
              <a:t> </a:t>
            </a:r>
          </a:p>
          <a:p>
            <a:r>
              <a:rPr lang="fr-FR" sz="1200" b="1" dirty="0"/>
              <a:t>Peut recevoir 2 vols simultanés</a:t>
            </a:r>
          </a:p>
          <a:p>
            <a:endParaRPr lang="fr-FR" sz="1200" dirty="0"/>
          </a:p>
          <a:p>
            <a:r>
              <a:rPr lang="fr-FR" sz="1200" b="1" dirty="0"/>
              <a:t>Tente d’attente pour accompagnateurs</a:t>
            </a:r>
          </a:p>
          <a:p>
            <a:endParaRPr lang="fr-FR" sz="1200" b="1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5823" y="4566613"/>
            <a:ext cx="3347864" cy="2231909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586" y="1178848"/>
            <a:ext cx="3960948" cy="3042485"/>
          </a:xfrm>
          <a:prstGeom prst="rect">
            <a:avLst/>
          </a:prstGeom>
        </p:spPr>
      </p:pic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23</a:t>
            </a:fld>
            <a:endParaRPr lang="fr-FR"/>
          </a:p>
        </p:txBody>
      </p:sp>
      <p:pic>
        <p:nvPicPr>
          <p:cNvPr id="13" name="Shape 280"/>
          <p:cNvPicPr preferRelativeResize="0"/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451992" y="0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Image 13" descr="AIBD sa"/>
          <p:cNvPicPr/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2850689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143672" y="404664"/>
            <a:ext cx="5832648" cy="40011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000" b="1" dirty="0"/>
              <a:t>LES RESEAUX DIVER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711624" y="1015135"/>
            <a:ext cx="80648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Les différents réseaux humides sont les suivants :</a:t>
            </a:r>
          </a:p>
          <a:p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1657351" y="1556793"/>
            <a:ext cx="8943974" cy="2123658"/>
          </a:xfrm>
          <a:prstGeom prst="rect">
            <a:avLst/>
          </a:prstGeom>
          <a:ln w="57150">
            <a:solidFill>
              <a:schemeClr val="accent4"/>
            </a:solidFill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r>
              <a:rPr lang="fr-FR" sz="1200" dirty="0"/>
              <a:t> </a:t>
            </a:r>
            <a:r>
              <a:rPr lang="fr-FR" sz="1200" b="1" dirty="0">
                <a:solidFill>
                  <a:srgbClr val="0070C0"/>
                </a:solidFill>
              </a:rPr>
              <a:t>1- Réseaux des eaux pluviales  63 km de caniveaux à béton et à grilles, 33 dalots.</a:t>
            </a:r>
          </a:p>
          <a:p>
            <a:pPr lvl="0"/>
            <a:endParaRPr lang="fr-FR" sz="1200" b="1" dirty="0">
              <a:solidFill>
                <a:srgbClr val="0070C0"/>
              </a:solidFill>
            </a:endParaRPr>
          </a:p>
          <a:p>
            <a:pPr lvl="0"/>
            <a:r>
              <a:rPr lang="fr-FR" sz="1200" b="1" dirty="0">
                <a:solidFill>
                  <a:srgbClr val="0070C0"/>
                </a:solidFill>
              </a:rPr>
              <a:t> 2- Réseaux des eaux usées  15 km (500 R)</a:t>
            </a:r>
          </a:p>
          <a:p>
            <a:pPr lvl="0"/>
            <a:endParaRPr lang="fr-FR" sz="1200" b="1" dirty="0">
              <a:solidFill>
                <a:srgbClr val="0070C0"/>
              </a:solidFill>
            </a:endParaRPr>
          </a:p>
          <a:p>
            <a:pPr lvl="0"/>
            <a:r>
              <a:rPr lang="fr-FR" sz="1200" b="1" dirty="0">
                <a:solidFill>
                  <a:srgbClr val="0070C0"/>
                </a:solidFill>
              </a:rPr>
              <a:t> 3- Réseaux des eaux potables  20 km DN 200</a:t>
            </a:r>
          </a:p>
          <a:p>
            <a:pPr lvl="0"/>
            <a:endParaRPr lang="fr-FR" sz="1200" b="1" dirty="0">
              <a:solidFill>
                <a:srgbClr val="0070C0"/>
              </a:solidFill>
            </a:endParaRPr>
          </a:p>
          <a:p>
            <a:pPr lvl="0"/>
            <a:r>
              <a:rPr lang="fr-FR" sz="1200" b="1" dirty="0">
                <a:solidFill>
                  <a:srgbClr val="0070C0"/>
                </a:solidFill>
              </a:rPr>
              <a:t> 4-Réseaux des eaux d’irrigation 53 km (DN 200, 100, 75)</a:t>
            </a:r>
          </a:p>
          <a:p>
            <a:pPr lvl="0"/>
            <a:endParaRPr lang="fr-FR" sz="1200" b="1" dirty="0">
              <a:solidFill>
                <a:srgbClr val="0070C0"/>
              </a:solidFill>
            </a:endParaRPr>
          </a:p>
          <a:p>
            <a:pPr lvl="0"/>
            <a:r>
              <a:rPr lang="fr-FR" sz="1200" b="1" dirty="0">
                <a:solidFill>
                  <a:srgbClr val="0070C0"/>
                </a:solidFill>
              </a:rPr>
              <a:t> 5-Réseaux Déshuileurs (traitement des eaux mélangées avec les huiles et les graisses)</a:t>
            </a:r>
          </a:p>
          <a:p>
            <a:pPr lvl="0"/>
            <a:endParaRPr lang="fr-FR" sz="1200" b="1" dirty="0">
              <a:solidFill>
                <a:srgbClr val="0070C0"/>
              </a:solidFill>
            </a:endParaRPr>
          </a:p>
          <a:p>
            <a:r>
              <a:rPr lang="fr-FR" sz="1200" b="1" dirty="0">
                <a:solidFill>
                  <a:srgbClr val="0070C0"/>
                </a:solidFill>
              </a:rPr>
              <a:t> 6- Réseaux des carburants pour les avions (hydrant system) 10 km DN250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1657351" y="4371975"/>
            <a:ext cx="8943973" cy="1361911"/>
          </a:xfrm>
          <a:prstGeom prst="rect">
            <a:avLst/>
          </a:prstGeom>
          <a:ln w="57150">
            <a:solidFill>
              <a:schemeClr val="accent4"/>
            </a:solidFill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endParaRPr lang="fr-FR" sz="1200" b="1" dirty="0">
              <a:solidFill>
                <a:srgbClr val="0070C0"/>
              </a:solidFill>
            </a:endParaRPr>
          </a:p>
          <a:p>
            <a:pPr lvl="0"/>
            <a:r>
              <a:rPr lang="fr-FR" sz="1200" b="1" dirty="0">
                <a:solidFill>
                  <a:srgbClr val="0070C0"/>
                </a:solidFill>
              </a:rPr>
              <a:t> 2- Courants moyenne tension 50 km câbles issus du CUC et desservant 33 postes MT/BT </a:t>
            </a:r>
          </a:p>
          <a:p>
            <a:pPr lvl="0"/>
            <a:endParaRPr lang="fr-FR" sz="1200" b="1" dirty="0">
              <a:solidFill>
                <a:srgbClr val="0070C0"/>
              </a:solidFill>
            </a:endParaRPr>
          </a:p>
          <a:p>
            <a:pPr lvl="0"/>
            <a:r>
              <a:rPr lang="fr-FR" sz="1200" b="1" dirty="0">
                <a:solidFill>
                  <a:srgbClr val="0070C0"/>
                </a:solidFill>
              </a:rPr>
              <a:t> 3- Courants basse tension  450 km de câbles BT desservant les routes et parkings avions et les feux de balisage.</a:t>
            </a:r>
          </a:p>
          <a:p>
            <a:pPr lvl="0"/>
            <a:endParaRPr lang="fr-FR" sz="1200" b="1" dirty="0">
              <a:solidFill>
                <a:srgbClr val="0070C0"/>
              </a:solidFill>
            </a:endParaRPr>
          </a:p>
          <a:p>
            <a:pPr lvl="0"/>
            <a:r>
              <a:rPr lang="fr-FR" sz="1200" b="1" dirty="0">
                <a:solidFill>
                  <a:srgbClr val="0070C0"/>
                </a:solidFill>
              </a:rPr>
              <a:t> 4- Réseaux VDI : plus de 100 km de câbles fibres optique (32 brins) et de câbles de télécommunication en cuivre</a:t>
            </a:r>
            <a:r>
              <a:rPr lang="fr-FR" sz="1050" b="1" dirty="0">
                <a:solidFill>
                  <a:srgbClr val="0070C0"/>
                </a:solidFill>
              </a:rPr>
              <a:t>.</a:t>
            </a:r>
          </a:p>
          <a:p>
            <a:pPr lvl="0"/>
            <a:endParaRPr lang="fr-FR" sz="1050" b="1" dirty="0">
              <a:solidFill>
                <a:srgbClr val="0070C0"/>
              </a:solidFill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2639616" y="3861048"/>
            <a:ext cx="6336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Les différents réseaux secs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 smtClean="0"/>
              <a:t>30 MARS 2017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24</a:t>
            </a:fld>
            <a:endParaRPr lang="fr-FR"/>
          </a:p>
        </p:txBody>
      </p:sp>
      <p:pic>
        <p:nvPicPr>
          <p:cNvPr id="12" name="Shape 280"/>
          <p:cNvPicPr preferRelativeResize="0"/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451992" y="0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 12" descr="AIBD sa"/>
          <p:cNvPicPr/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44705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Arrow 4">
            <a:hlinkClick r:id="rId2" action="ppaction://hlinksldjump"/>
          </p:cNvPr>
          <p:cNvSpPr/>
          <p:nvPr/>
        </p:nvSpPr>
        <p:spPr>
          <a:xfrm>
            <a:off x="9296400" y="6172200"/>
            <a:ext cx="6096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2" rIns="91421" bIns="45712" anchor="ctr"/>
          <a:lstStyle/>
          <a:p>
            <a:pPr algn="ctr" defTabSz="914220">
              <a:defRPr/>
            </a:pPr>
            <a:endParaRPr lang="en-US" b="1" dirty="0">
              <a:latin typeface="Albertus" pitchFamily="34" charset="0"/>
            </a:endParaRPr>
          </a:p>
        </p:txBody>
      </p:sp>
      <p:sp>
        <p:nvSpPr>
          <p:cNvPr id="53261" name="Rectangle 13"/>
          <p:cNvSpPr>
            <a:spLocks noChangeArrowheads="1"/>
          </p:cNvSpPr>
          <p:nvPr/>
        </p:nvSpPr>
        <p:spPr bwMode="auto">
          <a:xfrm>
            <a:off x="2207569" y="1279166"/>
            <a:ext cx="424497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040188" algn="r"/>
              </a:tabLst>
            </a:pPr>
            <a:r>
              <a:rPr lang="fr-FR" sz="2000" b="1" dirty="0">
                <a:latin typeface="Calibri" pitchFamily="34" charset="0"/>
              </a:rPr>
              <a:t>Passerelles télescopiques	(06)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040188" algn="r"/>
              </a:tabLst>
            </a:pPr>
            <a:r>
              <a:rPr lang="fr-FR" sz="2000" b="1" dirty="0">
                <a:latin typeface="Calibri" pitchFamily="34" charset="0"/>
              </a:rPr>
              <a:t>Système automatique de traitement des bagages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040188" algn="r"/>
              </a:tabLst>
            </a:pPr>
            <a:r>
              <a:rPr lang="fr-FR" sz="2000" b="1" dirty="0">
                <a:latin typeface="Calibri" pitchFamily="34" charset="0"/>
              </a:rPr>
              <a:t>Système de sonorisation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040188" algn="r"/>
              </a:tabLst>
            </a:pPr>
            <a:r>
              <a:rPr lang="fr-FR" sz="2000" b="1" dirty="0">
                <a:latin typeface="Calibri" pitchFamily="34" charset="0"/>
              </a:rPr>
              <a:t>Système de téléaffichage	(FIDS) 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040188" algn="r"/>
              </a:tabLst>
            </a:pPr>
            <a:r>
              <a:rPr lang="fr-FR" sz="2000" b="1" dirty="0">
                <a:latin typeface="Calibri" pitchFamily="34" charset="0"/>
              </a:rPr>
              <a:t>Détecteurs à rayon X (8 PF, 6 GF, 1 Hors format)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040188" algn="r"/>
              </a:tabLst>
            </a:pPr>
            <a:r>
              <a:rPr lang="fr-FR" sz="2000" b="1" dirty="0">
                <a:latin typeface="Calibri" pitchFamily="34" charset="0"/>
              </a:rPr>
              <a:t>Détecteurs d’explosifs	(2 EDS) 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040188" algn="r"/>
              </a:tabLst>
            </a:pPr>
            <a:r>
              <a:rPr lang="fr-FR" sz="2000" b="1" dirty="0">
                <a:latin typeface="Calibri" pitchFamily="34" charset="0"/>
              </a:rPr>
              <a:t>Système CUTE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040188" algn="r"/>
              </a:tabLst>
            </a:pPr>
            <a:r>
              <a:rPr lang="fr-FR" sz="2000" b="1" dirty="0">
                <a:latin typeface="Calibri" pitchFamily="34" charset="0"/>
              </a:rPr>
              <a:t>Escalators	(06)</a:t>
            </a:r>
          </a:p>
        </p:txBody>
      </p:sp>
      <p:sp>
        <p:nvSpPr>
          <p:cNvPr id="53262" name="Rectangle 14"/>
          <p:cNvSpPr>
            <a:spLocks noChangeArrowheads="1"/>
          </p:cNvSpPr>
          <p:nvPr/>
        </p:nvSpPr>
        <p:spPr bwMode="auto">
          <a:xfrm>
            <a:off x="6351588" y="1279166"/>
            <a:ext cx="431641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121150" algn="r"/>
              </a:tabLst>
            </a:pPr>
            <a:r>
              <a:rPr lang="fr-FR" sz="2000" b="1" dirty="0">
                <a:latin typeface="Calibri" pitchFamily="34" charset="0"/>
              </a:rPr>
              <a:t>Ascenseurs &amp; monte-charges	(06)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121150" algn="r"/>
              </a:tabLst>
            </a:pPr>
            <a:r>
              <a:rPr lang="fr-FR" sz="2000" b="1" dirty="0">
                <a:latin typeface="Calibri" pitchFamily="34" charset="0"/>
              </a:rPr>
              <a:t>Tapis de livraison de bagages	(04)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121150" algn="r"/>
              </a:tabLst>
            </a:pPr>
            <a:r>
              <a:rPr lang="fr-FR" sz="2000" b="1" dirty="0">
                <a:latin typeface="Calibri" pitchFamily="34" charset="0"/>
              </a:rPr>
              <a:t>Signalisation lumineuse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121150" algn="r"/>
              </a:tabLst>
            </a:pPr>
            <a:r>
              <a:rPr lang="fr-FR" sz="2000" b="1" dirty="0">
                <a:latin typeface="Calibri" pitchFamily="34" charset="0"/>
              </a:rPr>
              <a:t>Système de surveillance par caméras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121150" algn="r"/>
              </a:tabLst>
            </a:pPr>
            <a:r>
              <a:rPr lang="fr-FR" sz="2000" b="1" dirty="0" err="1">
                <a:latin typeface="Calibri" pitchFamily="34" charset="0"/>
              </a:rPr>
              <a:t>Siéges</a:t>
            </a:r>
            <a:r>
              <a:rPr lang="fr-FR" sz="2000" b="1" dirty="0">
                <a:latin typeface="Calibri" pitchFamily="34" charset="0"/>
              </a:rPr>
              <a:t> pour passagers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121150" algn="r"/>
              </a:tabLst>
            </a:pPr>
            <a:r>
              <a:rPr lang="fr-FR" sz="2000" b="1" dirty="0">
                <a:latin typeface="Calibri" pitchFamily="34" charset="0"/>
              </a:rPr>
              <a:t>Comptoirs d’enregistrement	(44)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121150" algn="r"/>
              </a:tabLst>
            </a:pPr>
            <a:r>
              <a:rPr lang="fr-FR" sz="2000" b="1" dirty="0">
                <a:latin typeface="Calibri" pitchFamily="34" charset="0"/>
              </a:rPr>
              <a:t>Comptoirs Police Départ	(16)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121150" algn="r"/>
              </a:tabLst>
            </a:pPr>
            <a:r>
              <a:rPr lang="fr-FR" sz="2000" b="1" dirty="0">
                <a:latin typeface="Calibri" pitchFamily="34" charset="0"/>
              </a:rPr>
              <a:t>Comptoirs Police Arrivée	(20)</a:t>
            </a:r>
          </a:p>
          <a:p>
            <a:pPr marL="342900" indent="-342900" eaLnBrk="0" hangingPunct="0">
              <a:spcBef>
                <a:spcPct val="50000"/>
              </a:spcBef>
              <a:buClr>
                <a:schemeClr val="accent1"/>
              </a:buClr>
              <a:buSzPct val="70000"/>
              <a:buBlip>
                <a:blip r:embed="rId3"/>
              </a:buBlip>
              <a:tabLst>
                <a:tab pos="4121150" algn="r"/>
              </a:tabLst>
            </a:pPr>
            <a:r>
              <a:rPr lang="fr-FR" sz="2000" b="1" dirty="0">
                <a:latin typeface="Calibri" pitchFamily="34" charset="0"/>
              </a:rPr>
              <a:t>Comptoirs Douanes Arrivée	(04)</a:t>
            </a:r>
            <a:endParaRPr lang="en-US" sz="2000" b="1" dirty="0">
              <a:latin typeface="Calibri" pitchFamily="34" charset="0"/>
            </a:endParaRPr>
          </a:p>
        </p:txBody>
      </p:sp>
      <p:sp>
        <p:nvSpPr>
          <p:cNvPr id="30725" name="Rectangle 8"/>
          <p:cNvSpPr>
            <a:spLocks noChangeArrowheads="1"/>
          </p:cNvSpPr>
          <p:nvPr/>
        </p:nvSpPr>
        <p:spPr bwMode="auto">
          <a:xfrm>
            <a:off x="3287688" y="332656"/>
            <a:ext cx="8001000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3200" b="1" dirty="0">
                <a:solidFill>
                  <a:srgbClr val="006666"/>
                </a:solidFill>
                <a:latin typeface="Calibri" pitchFamily="34" charset="0"/>
              </a:rPr>
              <a:t>Aérogare Passagers – </a:t>
            </a:r>
            <a:r>
              <a:rPr lang="fr-FR" sz="3200" b="1" dirty="0">
                <a:solidFill>
                  <a:schemeClr val="accent2"/>
                </a:solidFill>
                <a:latin typeface="Calibri" pitchFamily="34" charset="0"/>
              </a:rPr>
              <a:t>Équipemen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667000" y="6172200"/>
            <a:ext cx="1447800" cy="369316"/>
          </a:xfrm>
          <a:prstGeom prst="rect">
            <a:avLst/>
          </a:prstGeom>
          <a:noFill/>
        </p:spPr>
        <p:txBody>
          <a:bodyPr lIns="91421" tIns="45712" rIns="91421" bIns="45712">
            <a:spAutoFit/>
          </a:bodyPr>
          <a:lstStyle/>
          <a:p>
            <a:pPr>
              <a:defRPr/>
            </a:pPr>
            <a:r>
              <a:rPr lang="en-US" b="1" dirty="0" err="1">
                <a:effectLst>
                  <a:outerShdw blurRad="38100" dist="38100" dir="2700000" algn="tl">
                    <a:srgbClr val="AFBAD7"/>
                  </a:outerShdw>
                </a:effectLst>
                <a:latin typeface="Albertus"/>
                <a:hlinkClick r:id="" action="ppaction://noaction"/>
              </a:rPr>
              <a:t>Aérogare</a:t>
            </a:r>
            <a:endParaRPr lang="en-US" b="1" dirty="0">
              <a:effectLst>
                <a:outerShdw blurRad="38100" dist="38100" dir="2700000" algn="tl">
                  <a:srgbClr val="AFBAD7"/>
                </a:outerShdw>
              </a:effectLst>
              <a:latin typeface="Albertus"/>
            </a:endParaRPr>
          </a:p>
        </p:txBody>
      </p:sp>
      <p:sp>
        <p:nvSpPr>
          <p:cNvPr id="8" name="Right Arrow 7">
            <a:hlinkClick r:id="" action="ppaction://noaction"/>
          </p:cNvPr>
          <p:cNvSpPr/>
          <p:nvPr/>
        </p:nvSpPr>
        <p:spPr>
          <a:xfrm flipH="1">
            <a:off x="2057400" y="6172200"/>
            <a:ext cx="6096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2" rIns="91421" bIns="45712" anchor="ctr"/>
          <a:lstStyle/>
          <a:p>
            <a:pPr algn="ctr" defTabSz="914220">
              <a:defRPr/>
            </a:pPr>
            <a:endParaRPr lang="en-US" dirty="0"/>
          </a:p>
        </p:txBody>
      </p:sp>
      <p:sp>
        <p:nvSpPr>
          <p:cNvPr id="9" name="TextBox 6"/>
          <p:cNvSpPr txBox="1"/>
          <p:nvPr/>
        </p:nvSpPr>
        <p:spPr>
          <a:xfrm>
            <a:off x="7543800" y="6172200"/>
            <a:ext cx="1981200" cy="369316"/>
          </a:xfrm>
          <a:prstGeom prst="rect">
            <a:avLst/>
          </a:prstGeom>
          <a:noFill/>
        </p:spPr>
        <p:txBody>
          <a:bodyPr lIns="91421" tIns="45712" rIns="91421" bIns="45712">
            <a:spAutoFit/>
          </a:bodyPr>
          <a:lstStyle/>
          <a:p>
            <a:pPr>
              <a:defRPr/>
            </a:pPr>
            <a:r>
              <a:rPr lang="en-US" b="1" dirty="0">
                <a:effectLst>
                  <a:outerShdw blurRad="38100" dist="38100" dir="2700000" algn="tl">
                    <a:srgbClr val="AFBAD7"/>
                  </a:outerShdw>
                </a:effectLst>
                <a:latin typeface="Albertus"/>
              </a:rPr>
              <a:t>Plan de mass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97CF81-4A95-4494-9F27-48BBB178CEB3}" type="slidenum">
              <a:rPr lang="fr-FR" smtClean="0"/>
              <a:pPr>
                <a:defRPr/>
              </a:pPr>
              <a:t>25</a:t>
            </a:fld>
            <a:endParaRPr lang="fr-FR"/>
          </a:p>
        </p:txBody>
      </p:sp>
      <p:pic>
        <p:nvPicPr>
          <p:cNvPr id="11" name="Shape 280"/>
          <p:cNvPicPr preferRelativeResize="0"/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451992" y="0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 descr="AIBD sa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1087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32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5326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5326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326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326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326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326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326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32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5326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5326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326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326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5326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5326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5326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6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5326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261" grpId="0" build="p"/>
      <p:bldP spid="53262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43" descr="PERSPECTIVE Termina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6" name="ZoneTexte 17"/>
          <p:cNvSpPr txBox="1">
            <a:spLocks noChangeArrowheads="1"/>
          </p:cNvSpPr>
          <p:nvPr/>
        </p:nvSpPr>
        <p:spPr bwMode="auto">
          <a:xfrm>
            <a:off x="2208213" y="908050"/>
            <a:ext cx="7848600" cy="489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endParaRPr lang="fr-FR" sz="2400" dirty="0"/>
          </a:p>
          <a:p>
            <a:pPr algn="just"/>
            <a:r>
              <a:rPr lang="fr-FR" sz="2400" b="1" dirty="0"/>
              <a:t>Le premier pôle en pôle position dans la territorialisation des politiques publiques est celui du Pôle Ouest-Littoral comprenant la Grande et la Petite Côte avec les régions de Dakar et </a:t>
            </a:r>
            <a:r>
              <a:rPr lang="fr-FR" sz="2400" b="1" dirty="0" err="1"/>
              <a:t>Thies</a:t>
            </a:r>
            <a:r>
              <a:rPr lang="fr-FR" sz="2400" b="1" dirty="0"/>
              <a:t>. C’est le triangle Dakar-Mbour-</a:t>
            </a:r>
            <a:r>
              <a:rPr lang="fr-FR" sz="2400" b="1" dirty="0" err="1"/>
              <a:t>Thies</a:t>
            </a:r>
            <a:r>
              <a:rPr lang="fr-FR" sz="2400" b="1" dirty="0"/>
              <a:t>. Ses centres d’intérêt sont les Services, les Nouvelles Technologies, les Mines, le Tourisme, le BTP et l’Industrie. </a:t>
            </a:r>
          </a:p>
          <a:p>
            <a:pPr algn="just"/>
            <a:endParaRPr lang="fr-FR" sz="2400" dirty="0"/>
          </a:p>
          <a:p>
            <a:pPr algn="just"/>
            <a:r>
              <a:rPr lang="fr-FR" sz="2400" b="1" dirty="0">
                <a:solidFill>
                  <a:srgbClr val="FF0000"/>
                </a:solidFill>
              </a:rPr>
              <a:t>L’épicentre de ce pôle, sa ressource territoriale est bien l’Aéroport International Blaise Diagne. Il est au cœur du Plan </a:t>
            </a:r>
            <a:r>
              <a:rPr lang="fr-FR" sz="2400" b="1" dirty="0" err="1">
                <a:solidFill>
                  <a:srgbClr val="FF0000"/>
                </a:solidFill>
              </a:rPr>
              <a:t>Senegal</a:t>
            </a:r>
            <a:r>
              <a:rPr lang="fr-FR" sz="2400" b="1" dirty="0">
                <a:solidFill>
                  <a:srgbClr val="FF0000"/>
                </a:solidFill>
              </a:rPr>
              <a:t> Emergent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1"/>
          </p:nvPr>
        </p:nvSpPr>
        <p:spPr>
          <a:xfrm>
            <a:off x="8256240" y="6525345"/>
            <a:ext cx="2232248" cy="365125"/>
          </a:xfrm>
        </p:spPr>
        <p:txBody>
          <a:bodyPr/>
          <a:lstStyle/>
          <a:p>
            <a:pPr>
              <a:defRPr/>
            </a:pPr>
            <a:r>
              <a:rPr lang="fr-FR" b="1" smtClean="0">
                <a:solidFill>
                  <a:srgbClr val="002060"/>
                </a:solidFill>
              </a:rPr>
              <a:t>30 MARS 2017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26</a:t>
            </a:fld>
            <a:endParaRPr lang="fr-FR"/>
          </a:p>
        </p:txBody>
      </p:sp>
      <p:sp>
        <p:nvSpPr>
          <p:cNvPr id="2" name="ZoneTexte 1"/>
          <p:cNvSpPr txBox="1"/>
          <p:nvPr/>
        </p:nvSpPr>
        <p:spPr>
          <a:xfrm>
            <a:off x="3143672" y="188640"/>
            <a:ext cx="62646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00B050"/>
                </a:solidFill>
              </a:rPr>
              <a:t>ENJEUX ET PERSPECTIVES</a:t>
            </a:r>
          </a:p>
        </p:txBody>
      </p:sp>
      <p:pic>
        <p:nvPicPr>
          <p:cNvPr id="10" name="Shape 280"/>
          <p:cNvPicPr preferRelativeResize="0"/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451992" y="0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 10" descr="AIBD sa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38205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re 1"/>
          <p:cNvSpPr>
            <a:spLocks noGrp="1"/>
          </p:cNvSpPr>
          <p:nvPr>
            <p:ph type="title"/>
          </p:nvPr>
        </p:nvSpPr>
        <p:spPr>
          <a:xfrm>
            <a:off x="2639616" y="1"/>
            <a:ext cx="7824788" cy="696913"/>
          </a:xfrm>
        </p:spPr>
        <p:txBody>
          <a:bodyPr/>
          <a:lstStyle/>
          <a:p>
            <a:r>
              <a:rPr lang="en-US" sz="3200" b="1" dirty="0"/>
              <a:t>ENVIRONNEMENT DU PROJET</a:t>
            </a:r>
            <a:endParaRPr lang="fr-FR" sz="3200" b="1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97CF81-4A95-4494-9F27-48BBB178CEB3}" type="slidenum">
              <a:rPr lang="fr-FR" smtClean="0"/>
              <a:pPr>
                <a:defRPr/>
              </a:pPr>
              <a:t>27</a:t>
            </a:fld>
            <a:endParaRPr lang="fr-FR"/>
          </a:p>
        </p:txBody>
      </p:sp>
      <p:pic>
        <p:nvPicPr>
          <p:cNvPr id="3072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40712" y="711963"/>
            <a:ext cx="8988425" cy="535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rme libre 6"/>
          <p:cNvSpPr/>
          <p:nvPr/>
        </p:nvSpPr>
        <p:spPr>
          <a:xfrm>
            <a:off x="3657601" y="1803400"/>
            <a:ext cx="4100513" cy="4300538"/>
          </a:xfrm>
          <a:custGeom>
            <a:avLst/>
            <a:gdLst>
              <a:gd name="connsiteX0" fmla="*/ 0 w 4104861"/>
              <a:gd name="connsiteY0" fmla="*/ 1103244 h 4840357"/>
              <a:gd name="connsiteX1" fmla="*/ 79513 w 4104861"/>
              <a:gd name="connsiteY1" fmla="*/ 1948070 h 4840357"/>
              <a:gd name="connsiteX2" fmla="*/ 496957 w 4104861"/>
              <a:gd name="connsiteY2" fmla="*/ 2166731 h 4840357"/>
              <a:gd name="connsiteX3" fmla="*/ 894522 w 4104861"/>
              <a:gd name="connsiteY3" fmla="*/ 2405270 h 4840357"/>
              <a:gd name="connsiteX4" fmla="*/ 1093305 w 4104861"/>
              <a:gd name="connsiteY4" fmla="*/ 2584174 h 4840357"/>
              <a:gd name="connsiteX5" fmla="*/ 1252331 w 4104861"/>
              <a:gd name="connsiteY5" fmla="*/ 2763078 h 4840357"/>
              <a:gd name="connsiteX6" fmla="*/ 1411357 w 4104861"/>
              <a:gd name="connsiteY6" fmla="*/ 3031435 h 4840357"/>
              <a:gd name="connsiteX7" fmla="*/ 1480931 w 4104861"/>
              <a:gd name="connsiteY7" fmla="*/ 3240157 h 4840357"/>
              <a:gd name="connsiteX8" fmla="*/ 1550505 w 4104861"/>
              <a:gd name="connsiteY8" fmla="*/ 3409122 h 4840357"/>
              <a:gd name="connsiteX9" fmla="*/ 1719470 w 4104861"/>
              <a:gd name="connsiteY9" fmla="*/ 3508513 h 4840357"/>
              <a:gd name="connsiteX10" fmla="*/ 1808922 w 4104861"/>
              <a:gd name="connsiteY10" fmla="*/ 3717235 h 4840357"/>
              <a:gd name="connsiteX11" fmla="*/ 1888435 w 4104861"/>
              <a:gd name="connsiteY11" fmla="*/ 4005470 h 4840357"/>
              <a:gd name="connsiteX12" fmla="*/ 2077278 w 4104861"/>
              <a:gd name="connsiteY12" fmla="*/ 4194313 h 4840357"/>
              <a:gd name="connsiteX13" fmla="*/ 2226365 w 4104861"/>
              <a:gd name="connsiteY13" fmla="*/ 4343400 h 4840357"/>
              <a:gd name="connsiteX14" fmla="*/ 2534478 w 4104861"/>
              <a:gd name="connsiteY14" fmla="*/ 4462670 h 4840357"/>
              <a:gd name="connsiteX15" fmla="*/ 2693505 w 4104861"/>
              <a:gd name="connsiteY15" fmla="*/ 4581939 h 4840357"/>
              <a:gd name="connsiteX16" fmla="*/ 2991678 w 4104861"/>
              <a:gd name="connsiteY16" fmla="*/ 4800600 h 4840357"/>
              <a:gd name="connsiteX17" fmla="*/ 3081131 w 4104861"/>
              <a:gd name="connsiteY17" fmla="*/ 4840357 h 4840357"/>
              <a:gd name="connsiteX18" fmla="*/ 3945835 w 4104861"/>
              <a:gd name="connsiteY18" fmla="*/ 3866322 h 4840357"/>
              <a:gd name="connsiteX19" fmla="*/ 3786809 w 4104861"/>
              <a:gd name="connsiteY19" fmla="*/ 3707296 h 4840357"/>
              <a:gd name="connsiteX20" fmla="*/ 3667539 w 4104861"/>
              <a:gd name="connsiteY20" fmla="*/ 3657600 h 4840357"/>
              <a:gd name="connsiteX21" fmla="*/ 3568148 w 4104861"/>
              <a:gd name="connsiteY21" fmla="*/ 3697357 h 4840357"/>
              <a:gd name="connsiteX22" fmla="*/ 3478696 w 4104861"/>
              <a:gd name="connsiteY22" fmla="*/ 3786809 h 4840357"/>
              <a:gd name="connsiteX23" fmla="*/ 3359426 w 4104861"/>
              <a:gd name="connsiteY23" fmla="*/ 3756991 h 4840357"/>
              <a:gd name="connsiteX24" fmla="*/ 3359426 w 4104861"/>
              <a:gd name="connsiteY24" fmla="*/ 3627783 h 4840357"/>
              <a:gd name="connsiteX25" fmla="*/ 3747052 w 4104861"/>
              <a:gd name="connsiteY25" fmla="*/ 2951922 h 4840357"/>
              <a:gd name="connsiteX26" fmla="*/ 3826565 w 4104861"/>
              <a:gd name="connsiteY26" fmla="*/ 2445026 h 4840357"/>
              <a:gd name="connsiteX27" fmla="*/ 3687418 w 4104861"/>
              <a:gd name="connsiteY27" fmla="*/ 2186609 h 4840357"/>
              <a:gd name="connsiteX28" fmla="*/ 3617844 w 4104861"/>
              <a:gd name="connsiteY28" fmla="*/ 2037522 h 4840357"/>
              <a:gd name="connsiteX29" fmla="*/ 3727174 w 4104861"/>
              <a:gd name="connsiteY29" fmla="*/ 1888435 h 4840357"/>
              <a:gd name="connsiteX30" fmla="*/ 3856383 w 4104861"/>
              <a:gd name="connsiteY30" fmla="*/ 1699591 h 4840357"/>
              <a:gd name="connsiteX31" fmla="*/ 3906078 w 4104861"/>
              <a:gd name="connsiteY31" fmla="*/ 1590261 h 4840357"/>
              <a:gd name="connsiteX32" fmla="*/ 4045226 w 4104861"/>
              <a:gd name="connsiteY32" fmla="*/ 1520687 h 4840357"/>
              <a:gd name="connsiteX33" fmla="*/ 4055165 w 4104861"/>
              <a:gd name="connsiteY33" fmla="*/ 1431235 h 4840357"/>
              <a:gd name="connsiteX34" fmla="*/ 4104861 w 4104861"/>
              <a:gd name="connsiteY34" fmla="*/ 983974 h 4840357"/>
              <a:gd name="connsiteX35" fmla="*/ 4065105 w 4104861"/>
              <a:gd name="connsiteY35" fmla="*/ 765313 h 4840357"/>
              <a:gd name="connsiteX36" fmla="*/ 3866322 w 4104861"/>
              <a:gd name="connsiteY36" fmla="*/ 715617 h 4840357"/>
              <a:gd name="connsiteX37" fmla="*/ 3766931 w 4104861"/>
              <a:gd name="connsiteY37" fmla="*/ 655983 h 4840357"/>
              <a:gd name="connsiteX38" fmla="*/ 3637722 w 4104861"/>
              <a:gd name="connsiteY38" fmla="*/ 705678 h 4840357"/>
              <a:gd name="connsiteX39" fmla="*/ 3498574 w 4104861"/>
              <a:gd name="connsiteY39" fmla="*/ 795131 h 4840357"/>
              <a:gd name="connsiteX40" fmla="*/ 3508513 w 4104861"/>
              <a:gd name="connsiteY40" fmla="*/ 795131 h 4840357"/>
              <a:gd name="connsiteX41" fmla="*/ 3349487 w 4104861"/>
              <a:gd name="connsiteY41" fmla="*/ 854765 h 4840357"/>
              <a:gd name="connsiteX42" fmla="*/ 3140765 w 4104861"/>
              <a:gd name="connsiteY42" fmla="*/ 745435 h 4840357"/>
              <a:gd name="connsiteX43" fmla="*/ 2971800 w 4104861"/>
              <a:gd name="connsiteY43" fmla="*/ 795131 h 4840357"/>
              <a:gd name="connsiteX44" fmla="*/ 2773018 w 4104861"/>
              <a:gd name="connsiteY44" fmla="*/ 944217 h 4840357"/>
              <a:gd name="connsiteX45" fmla="*/ 2574235 w 4104861"/>
              <a:gd name="connsiteY45" fmla="*/ 1133061 h 4840357"/>
              <a:gd name="connsiteX46" fmla="*/ 2395331 w 4104861"/>
              <a:gd name="connsiteY46" fmla="*/ 1202635 h 4840357"/>
              <a:gd name="connsiteX47" fmla="*/ 2246244 w 4104861"/>
              <a:gd name="connsiteY47" fmla="*/ 1182757 h 4840357"/>
              <a:gd name="connsiteX48" fmla="*/ 2186609 w 4104861"/>
              <a:gd name="connsiteY48" fmla="*/ 1063487 h 4840357"/>
              <a:gd name="connsiteX49" fmla="*/ 2196548 w 4104861"/>
              <a:gd name="connsiteY49" fmla="*/ 815009 h 4840357"/>
              <a:gd name="connsiteX50" fmla="*/ 2196548 w 4104861"/>
              <a:gd name="connsiteY50" fmla="*/ 586409 h 4840357"/>
              <a:gd name="connsiteX51" fmla="*/ 2136913 w 4104861"/>
              <a:gd name="connsiteY51" fmla="*/ 447261 h 4840357"/>
              <a:gd name="connsiteX52" fmla="*/ 1987826 w 4104861"/>
              <a:gd name="connsiteY52" fmla="*/ 248478 h 4840357"/>
              <a:gd name="connsiteX53" fmla="*/ 1918252 w 4104861"/>
              <a:gd name="connsiteY53" fmla="*/ 99391 h 4840357"/>
              <a:gd name="connsiteX54" fmla="*/ 1798983 w 4104861"/>
              <a:gd name="connsiteY54" fmla="*/ 0 h 4840357"/>
              <a:gd name="connsiteX55" fmla="*/ 1689652 w 4104861"/>
              <a:gd name="connsiteY55" fmla="*/ 178904 h 4840357"/>
              <a:gd name="connsiteX56" fmla="*/ 1550505 w 4104861"/>
              <a:gd name="connsiteY56" fmla="*/ 268357 h 4840357"/>
              <a:gd name="connsiteX57" fmla="*/ 1421296 w 4104861"/>
              <a:gd name="connsiteY57" fmla="*/ 318052 h 4840357"/>
              <a:gd name="connsiteX58" fmla="*/ 1192696 w 4104861"/>
              <a:gd name="connsiteY58" fmla="*/ 506896 h 4840357"/>
              <a:gd name="connsiteX59" fmla="*/ 1023731 w 4104861"/>
              <a:gd name="connsiteY59" fmla="*/ 596348 h 4840357"/>
              <a:gd name="connsiteX60" fmla="*/ 735496 w 4104861"/>
              <a:gd name="connsiteY60" fmla="*/ 715617 h 4840357"/>
              <a:gd name="connsiteX61" fmla="*/ 477078 w 4104861"/>
              <a:gd name="connsiteY61" fmla="*/ 815009 h 4840357"/>
              <a:gd name="connsiteX62" fmla="*/ 288235 w 4104861"/>
              <a:gd name="connsiteY62" fmla="*/ 914400 h 4840357"/>
              <a:gd name="connsiteX63" fmla="*/ 119270 w 4104861"/>
              <a:gd name="connsiteY63" fmla="*/ 993913 h 4840357"/>
              <a:gd name="connsiteX64" fmla="*/ 0 w 4104861"/>
              <a:gd name="connsiteY64" fmla="*/ 1103244 h 4840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4104861" h="4840357">
                <a:moveTo>
                  <a:pt x="0" y="1103244"/>
                </a:moveTo>
                <a:lnTo>
                  <a:pt x="79513" y="1948070"/>
                </a:lnTo>
                <a:lnTo>
                  <a:pt x="496957" y="2166731"/>
                </a:lnTo>
                <a:lnTo>
                  <a:pt x="894522" y="2405270"/>
                </a:lnTo>
                <a:lnTo>
                  <a:pt x="1093305" y="2584174"/>
                </a:lnTo>
                <a:lnTo>
                  <a:pt x="1252331" y="2763078"/>
                </a:lnTo>
                <a:lnTo>
                  <a:pt x="1411357" y="3031435"/>
                </a:lnTo>
                <a:lnTo>
                  <a:pt x="1480931" y="3240157"/>
                </a:lnTo>
                <a:lnTo>
                  <a:pt x="1550505" y="3409122"/>
                </a:lnTo>
                <a:lnTo>
                  <a:pt x="1719470" y="3508513"/>
                </a:lnTo>
                <a:lnTo>
                  <a:pt x="1808922" y="3717235"/>
                </a:lnTo>
                <a:lnTo>
                  <a:pt x="1888435" y="4005470"/>
                </a:lnTo>
                <a:lnTo>
                  <a:pt x="2077278" y="4194313"/>
                </a:lnTo>
                <a:lnTo>
                  <a:pt x="2226365" y="4343400"/>
                </a:lnTo>
                <a:lnTo>
                  <a:pt x="2534478" y="4462670"/>
                </a:lnTo>
                <a:lnTo>
                  <a:pt x="2693505" y="4581939"/>
                </a:lnTo>
                <a:lnTo>
                  <a:pt x="2991678" y="4800600"/>
                </a:lnTo>
                <a:lnTo>
                  <a:pt x="3081131" y="4840357"/>
                </a:lnTo>
                <a:lnTo>
                  <a:pt x="3945835" y="3866322"/>
                </a:lnTo>
                <a:lnTo>
                  <a:pt x="3786809" y="3707296"/>
                </a:lnTo>
                <a:lnTo>
                  <a:pt x="3667539" y="3657600"/>
                </a:lnTo>
                <a:lnTo>
                  <a:pt x="3568148" y="3697357"/>
                </a:lnTo>
                <a:lnTo>
                  <a:pt x="3478696" y="3786809"/>
                </a:lnTo>
                <a:lnTo>
                  <a:pt x="3359426" y="3756991"/>
                </a:lnTo>
                <a:lnTo>
                  <a:pt x="3359426" y="3627783"/>
                </a:lnTo>
                <a:lnTo>
                  <a:pt x="3747052" y="2951922"/>
                </a:lnTo>
                <a:lnTo>
                  <a:pt x="3826565" y="2445026"/>
                </a:lnTo>
                <a:lnTo>
                  <a:pt x="3687418" y="2186609"/>
                </a:lnTo>
                <a:lnTo>
                  <a:pt x="3617844" y="2037522"/>
                </a:lnTo>
                <a:lnTo>
                  <a:pt x="3727174" y="1888435"/>
                </a:lnTo>
                <a:lnTo>
                  <a:pt x="3856383" y="1699591"/>
                </a:lnTo>
                <a:lnTo>
                  <a:pt x="3906078" y="1590261"/>
                </a:lnTo>
                <a:lnTo>
                  <a:pt x="4045226" y="1520687"/>
                </a:lnTo>
                <a:lnTo>
                  <a:pt x="4055165" y="1431235"/>
                </a:lnTo>
                <a:lnTo>
                  <a:pt x="4104861" y="983974"/>
                </a:lnTo>
                <a:lnTo>
                  <a:pt x="4065105" y="765313"/>
                </a:lnTo>
                <a:lnTo>
                  <a:pt x="3866322" y="715617"/>
                </a:lnTo>
                <a:lnTo>
                  <a:pt x="3766931" y="655983"/>
                </a:lnTo>
                <a:lnTo>
                  <a:pt x="3637722" y="705678"/>
                </a:lnTo>
                <a:lnTo>
                  <a:pt x="3498574" y="795131"/>
                </a:lnTo>
                <a:lnTo>
                  <a:pt x="3508513" y="795131"/>
                </a:lnTo>
                <a:lnTo>
                  <a:pt x="3349487" y="854765"/>
                </a:lnTo>
                <a:lnTo>
                  <a:pt x="3140765" y="745435"/>
                </a:lnTo>
                <a:lnTo>
                  <a:pt x="2971800" y="795131"/>
                </a:lnTo>
                <a:lnTo>
                  <a:pt x="2773018" y="944217"/>
                </a:lnTo>
                <a:lnTo>
                  <a:pt x="2574235" y="1133061"/>
                </a:lnTo>
                <a:lnTo>
                  <a:pt x="2395331" y="1202635"/>
                </a:lnTo>
                <a:lnTo>
                  <a:pt x="2246244" y="1182757"/>
                </a:lnTo>
                <a:lnTo>
                  <a:pt x="2186609" y="1063487"/>
                </a:lnTo>
                <a:lnTo>
                  <a:pt x="2196548" y="815009"/>
                </a:lnTo>
                <a:lnTo>
                  <a:pt x="2196548" y="586409"/>
                </a:lnTo>
                <a:lnTo>
                  <a:pt x="2136913" y="447261"/>
                </a:lnTo>
                <a:lnTo>
                  <a:pt x="1987826" y="248478"/>
                </a:lnTo>
                <a:lnTo>
                  <a:pt x="1918252" y="99391"/>
                </a:lnTo>
                <a:lnTo>
                  <a:pt x="1798983" y="0"/>
                </a:lnTo>
                <a:lnTo>
                  <a:pt x="1689652" y="178904"/>
                </a:lnTo>
                <a:lnTo>
                  <a:pt x="1550505" y="268357"/>
                </a:lnTo>
                <a:lnTo>
                  <a:pt x="1421296" y="318052"/>
                </a:lnTo>
                <a:lnTo>
                  <a:pt x="1192696" y="506896"/>
                </a:lnTo>
                <a:lnTo>
                  <a:pt x="1023731" y="596348"/>
                </a:lnTo>
                <a:lnTo>
                  <a:pt x="735496" y="715617"/>
                </a:lnTo>
                <a:lnTo>
                  <a:pt x="477078" y="815009"/>
                </a:lnTo>
                <a:lnTo>
                  <a:pt x="288235" y="914400"/>
                </a:lnTo>
                <a:lnTo>
                  <a:pt x="119270" y="993913"/>
                </a:lnTo>
                <a:lnTo>
                  <a:pt x="0" y="1103244"/>
                </a:lnTo>
                <a:close/>
              </a:path>
            </a:pathLst>
          </a:cu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pic>
        <p:nvPicPr>
          <p:cNvPr id="8" name="Shape 280"/>
          <p:cNvPicPr preferRelativeResize="0"/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642404" y="1"/>
            <a:ext cx="881596" cy="69691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 descr="AIBD sa"/>
          <p:cNvPicPr/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464403" y="-166951"/>
            <a:ext cx="1508495" cy="878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80687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re 1"/>
          <p:cNvSpPr>
            <a:spLocks noGrp="1"/>
          </p:cNvSpPr>
          <p:nvPr>
            <p:ph type="title"/>
          </p:nvPr>
        </p:nvSpPr>
        <p:spPr>
          <a:xfrm>
            <a:off x="2783632" y="50801"/>
            <a:ext cx="7884368" cy="696913"/>
          </a:xfrm>
        </p:spPr>
        <p:txBody>
          <a:bodyPr/>
          <a:lstStyle/>
          <a:p>
            <a:r>
              <a:rPr lang="en-US" sz="3200" dirty="0"/>
              <a:t>LES CONNECTIVITES ET AUTRES PROJETS</a:t>
            </a:r>
            <a:endParaRPr lang="fr-FR" sz="320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1524000" y="6520260"/>
            <a:ext cx="9144000" cy="365125"/>
          </a:xfrm>
        </p:spPr>
        <p:txBody>
          <a:bodyPr/>
          <a:lstStyle/>
          <a:p>
            <a:pPr>
              <a:defRPr/>
            </a:pPr>
            <a:r>
              <a:rPr lang="fr-FR" b="1" smtClean="0">
                <a:solidFill>
                  <a:srgbClr val="002060"/>
                </a:solidFill>
              </a:rPr>
              <a:t>30 MARS 2017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97CF81-4A95-4494-9F27-48BBB178CEB3}" type="slidenum">
              <a:rPr lang="fr-FR" smtClean="0"/>
              <a:pPr>
                <a:defRPr/>
              </a:pPr>
              <a:t>28</a:t>
            </a:fld>
            <a:endParaRPr lang="fr-FR"/>
          </a:p>
        </p:txBody>
      </p:sp>
      <p:grpSp>
        <p:nvGrpSpPr>
          <p:cNvPr id="2" name="Groupe 1"/>
          <p:cNvGrpSpPr/>
          <p:nvPr/>
        </p:nvGrpSpPr>
        <p:grpSpPr>
          <a:xfrm>
            <a:off x="1758950" y="1313260"/>
            <a:ext cx="8674100" cy="5389562"/>
            <a:chOff x="1993900" y="728663"/>
            <a:chExt cx="8674100" cy="5389562"/>
          </a:xfrm>
        </p:grpSpPr>
        <p:pic>
          <p:nvPicPr>
            <p:cNvPr id="31748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993900" y="728663"/>
              <a:ext cx="8674100" cy="53895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Image 11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03912" y="1995716"/>
              <a:ext cx="1252162" cy="9391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Image 13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59696" y="3933057"/>
              <a:ext cx="1252162" cy="8651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9" name="Shape 280"/>
          <p:cNvPicPr preferRelativeResize="0"/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728092" y="0"/>
            <a:ext cx="795908" cy="7477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AIBD sa"/>
          <p:cNvPicPr/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333062" y="0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63310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oins 3"/>
          <p:cNvSpPr/>
          <p:nvPr/>
        </p:nvSpPr>
        <p:spPr>
          <a:xfrm>
            <a:off x="1524000" y="1340769"/>
            <a:ext cx="9639000" cy="318135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/>
          <p:cNvSpPr txBox="1"/>
          <p:nvPr/>
        </p:nvSpPr>
        <p:spPr>
          <a:xfrm>
            <a:off x="4079777" y="589912"/>
            <a:ext cx="4738255" cy="41549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100" dirty="0">
                <a:latin typeface="Aharoni" panose="02010803020104030203" pitchFamily="2" charset="-79"/>
                <a:cs typeface="Aharoni" panose="02010803020104030203" pitchFamily="2" charset="-79"/>
              </a:rPr>
              <a:t>MODELE ECONOMIQUE PROJETE</a:t>
            </a:r>
          </a:p>
        </p:txBody>
      </p:sp>
      <p:graphicFrame>
        <p:nvGraphicFramePr>
          <p:cNvPr id="10" name="Diagramme 9"/>
          <p:cNvGraphicFramePr/>
          <p:nvPr>
            <p:extLst>
              <p:ext uri="{D42A27DB-BD31-4B8C-83A1-F6EECF244321}">
                <p14:modId xmlns:p14="http://schemas.microsoft.com/office/powerpoint/2010/main" val="1088166495"/>
              </p:ext>
            </p:extLst>
          </p:nvPr>
        </p:nvGraphicFramePr>
        <p:xfrm>
          <a:off x="2296969" y="1536899"/>
          <a:ext cx="7598062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ZoneTexte 10"/>
          <p:cNvSpPr txBox="1"/>
          <p:nvPr/>
        </p:nvSpPr>
        <p:spPr>
          <a:xfrm>
            <a:off x="5339916" y="3633589"/>
            <a:ext cx="1512168" cy="738664"/>
          </a:xfrm>
          <a:prstGeom prst="rect">
            <a:avLst/>
          </a:prstGeom>
          <a:solidFill>
            <a:srgbClr val="FFFF00"/>
          </a:solidFill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100" dirty="0"/>
              <a:t>HUB AERIEN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29</a:t>
            </a:fld>
            <a:endParaRPr lang="fr-FR"/>
          </a:p>
        </p:txBody>
      </p:sp>
      <p:pic>
        <p:nvPicPr>
          <p:cNvPr id="13" name="Shape 280"/>
          <p:cNvPicPr preferRelativeResize="0"/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794767" y="0"/>
            <a:ext cx="729233" cy="7143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Image 13" descr="AIBD sa"/>
          <p:cNvPicPr/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50984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Arrow Connector 102"/>
          <p:cNvCxnSpPr/>
          <p:nvPr/>
        </p:nvCxnSpPr>
        <p:spPr>
          <a:xfrm>
            <a:off x="5273767" y="2310140"/>
            <a:ext cx="3007608" cy="1393771"/>
          </a:xfrm>
          <a:prstGeom prst="straightConnector1">
            <a:avLst/>
          </a:prstGeom>
          <a:ln w="12700">
            <a:prstDash val="dash"/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1" name="Straight Arrow Connector 92"/>
          <p:cNvCxnSpPr/>
          <p:nvPr>
            <p:custDataLst>
              <p:tags r:id="rId1"/>
            </p:custDataLst>
          </p:nvPr>
        </p:nvCxnSpPr>
        <p:spPr>
          <a:xfrm flipV="1">
            <a:off x="5626683" y="2246418"/>
            <a:ext cx="2926521" cy="1344245"/>
          </a:xfrm>
          <a:prstGeom prst="straightConnector1">
            <a:avLst/>
          </a:prstGeom>
          <a:ln w="12700">
            <a:prstDash val="dash"/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2" name="Pentagon 3"/>
          <p:cNvSpPr/>
          <p:nvPr>
            <p:custDataLst>
              <p:tags r:id="rId2"/>
            </p:custDataLst>
          </p:nvPr>
        </p:nvSpPr>
        <p:spPr>
          <a:xfrm>
            <a:off x="1457317" y="1343013"/>
            <a:ext cx="2471746" cy="5043494"/>
          </a:xfrm>
          <a:prstGeom prst="homePlate">
            <a:avLst>
              <a:gd name="adj" fmla="val 1138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57188" lvl="1" indent="-271463">
              <a:buFont typeface="Arial" pitchFamily="34" charset="0"/>
              <a:buChar char="•"/>
            </a:pPr>
            <a:endParaRPr lang="fr-FR" sz="1400" dirty="0">
              <a:solidFill>
                <a:schemeClr val="tx1"/>
              </a:solidFill>
            </a:endParaRPr>
          </a:p>
          <a:p>
            <a:pPr marL="357188" lvl="1" indent="-271463">
              <a:buFont typeface="Arial" pitchFamily="34" charset="0"/>
              <a:buChar char="•"/>
            </a:pPr>
            <a:endParaRPr lang="fr-FR" sz="1400" dirty="0">
              <a:solidFill>
                <a:schemeClr val="tx1"/>
              </a:solidFill>
            </a:endParaRPr>
          </a:p>
          <a:p>
            <a:pPr marL="357188" lvl="1" indent="-271463">
              <a:buFont typeface="Arial" pitchFamily="34" charset="0"/>
              <a:buChar char="•"/>
            </a:pPr>
            <a:endParaRPr lang="fr-FR" sz="1400" dirty="0">
              <a:solidFill>
                <a:schemeClr val="tx1"/>
              </a:solidFill>
            </a:endParaRPr>
          </a:p>
          <a:p>
            <a:pPr marL="357188" lvl="1" indent="-271463">
              <a:buFont typeface="Arial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Transformer la </a:t>
            </a:r>
            <a:r>
              <a:rPr lang="fr-FR" b="1" dirty="0">
                <a:solidFill>
                  <a:schemeClr val="accent4"/>
                </a:solidFill>
              </a:rPr>
              <a:t>dynamique de croissance de la région </a:t>
            </a:r>
            <a:r>
              <a:rPr lang="fr-FR" dirty="0">
                <a:solidFill>
                  <a:schemeClr val="tx1"/>
                </a:solidFill>
              </a:rPr>
              <a:t>en opportunité de croissance pour le Sénégal</a:t>
            </a:r>
          </a:p>
          <a:p>
            <a:pPr marL="85725" lvl="1"/>
            <a:endParaRPr lang="fr-FR" dirty="0">
              <a:solidFill>
                <a:schemeClr val="tx1"/>
              </a:solidFill>
            </a:endParaRPr>
          </a:p>
          <a:p>
            <a:pPr marL="357188" lvl="1" indent="-271463">
              <a:buFont typeface="Arial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Mettre en place des </a:t>
            </a:r>
            <a:r>
              <a:rPr lang="fr-FR" b="1" dirty="0">
                <a:solidFill>
                  <a:schemeClr val="accent4"/>
                </a:solidFill>
              </a:rPr>
              <a:t>moteurs d’export et d’emploi</a:t>
            </a:r>
          </a:p>
        </p:txBody>
      </p:sp>
      <p:sp>
        <p:nvSpPr>
          <p:cNvPr id="23" name="AutoShape 250"/>
          <p:cNvSpPr>
            <a:spLocks noChangeArrowheads="1"/>
          </p:cNvSpPr>
          <p:nvPr/>
        </p:nvSpPr>
        <p:spPr bwMode="auto">
          <a:xfrm>
            <a:off x="2076387" y="1325714"/>
            <a:ext cx="1923362" cy="51090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fr-FR" sz="1600" b="1" dirty="0">
                <a:solidFill>
                  <a:srgbClr val="000000"/>
                </a:solidFill>
                <a:latin typeface="Cambria"/>
              </a:rPr>
              <a:t>Objectifs stratégiques</a:t>
            </a:r>
          </a:p>
        </p:txBody>
      </p:sp>
      <p:grpSp>
        <p:nvGrpSpPr>
          <p:cNvPr id="24" name="Group 5"/>
          <p:cNvGrpSpPr/>
          <p:nvPr>
            <p:custDataLst>
              <p:tags r:id="rId3"/>
            </p:custDataLst>
          </p:nvPr>
        </p:nvGrpSpPr>
        <p:grpSpPr>
          <a:xfrm>
            <a:off x="4190364" y="975822"/>
            <a:ext cx="5539425" cy="233910"/>
            <a:chOff x="2406498" y="561472"/>
            <a:chExt cx="2921305" cy="233910"/>
          </a:xfrm>
        </p:grpSpPr>
        <p:cxnSp>
          <p:nvCxnSpPr>
            <p:cNvPr id="25" name="AutoShape 249"/>
            <p:cNvCxnSpPr>
              <a:cxnSpLocks noChangeShapeType="1"/>
              <a:stCxn id="26" idx="4"/>
              <a:endCxn id="26" idx="6"/>
            </p:cNvCxnSpPr>
            <p:nvPr/>
          </p:nvCxnSpPr>
          <p:spPr bwMode="auto">
            <a:xfrm>
              <a:off x="2406498" y="795382"/>
              <a:ext cx="29213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6" name="AutoShape 250"/>
            <p:cNvSpPr>
              <a:spLocks noChangeArrowheads="1"/>
            </p:cNvSpPr>
            <p:nvPr/>
          </p:nvSpPr>
          <p:spPr bwMode="auto">
            <a:xfrm>
              <a:off x="2406498" y="561472"/>
              <a:ext cx="2921305" cy="2339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400" b="1" dirty="0">
                  <a:solidFill>
                    <a:srgbClr val="000000"/>
                  </a:solidFill>
                  <a:latin typeface="Cambria"/>
                </a:rPr>
                <a:t>Fortes synergies entres les projets phares</a:t>
              </a:r>
            </a:p>
          </p:txBody>
        </p:sp>
      </p:grpSp>
      <p:cxnSp>
        <p:nvCxnSpPr>
          <p:cNvPr id="27" name="AutoShape 249"/>
          <p:cNvCxnSpPr>
            <a:cxnSpLocks noChangeShapeType="1"/>
          </p:cNvCxnSpPr>
          <p:nvPr/>
        </p:nvCxnSpPr>
        <p:spPr bwMode="auto">
          <a:xfrm>
            <a:off x="1583551" y="1863735"/>
            <a:ext cx="2043697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Oval 6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017083" y="3439425"/>
            <a:ext cx="1522674" cy="802362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fr-FR">
              <a:latin typeface="+mj-lt"/>
            </a:endParaRPr>
          </a:p>
        </p:txBody>
      </p:sp>
      <p:sp>
        <p:nvSpPr>
          <p:cNvPr id="29" name="Rectangle 28"/>
          <p:cNvSpPr/>
          <p:nvPr>
            <p:custDataLst>
              <p:tags r:id="rId5"/>
            </p:custDataLst>
          </p:nvPr>
        </p:nvSpPr>
        <p:spPr>
          <a:xfrm>
            <a:off x="4017083" y="3643206"/>
            <a:ext cx="15197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400" b="1" i="1" dirty="0">
                <a:solidFill>
                  <a:schemeClr val="bg1"/>
                </a:solidFill>
                <a:latin typeface="+mj-lt"/>
              </a:rPr>
              <a:t>Business Park / HQ</a:t>
            </a:r>
          </a:p>
        </p:txBody>
      </p:sp>
      <p:sp>
        <p:nvSpPr>
          <p:cNvPr id="30" name="Oval 6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rot="1677298">
            <a:off x="5180367" y="3531415"/>
            <a:ext cx="186803" cy="11849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fol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9" tIns="72009" rIns="72009" bIns="72009" anchor="ctr"/>
          <a:lstStyle/>
          <a:p>
            <a:endParaRPr lang="fr-FR">
              <a:latin typeface="+mj-lt"/>
            </a:endParaRPr>
          </a:p>
        </p:txBody>
      </p:sp>
      <p:sp>
        <p:nvSpPr>
          <p:cNvPr id="31" name="Oval 6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52507" y="2310139"/>
            <a:ext cx="1522674" cy="802362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fr-FR">
              <a:latin typeface="+mj-lt"/>
            </a:endParaRPr>
          </a:p>
        </p:txBody>
      </p:sp>
      <p:sp>
        <p:nvSpPr>
          <p:cNvPr id="32" name="Rectangle 31"/>
          <p:cNvSpPr/>
          <p:nvPr>
            <p:custDataLst>
              <p:tags r:id="rId8"/>
            </p:custDataLst>
          </p:nvPr>
        </p:nvSpPr>
        <p:spPr>
          <a:xfrm>
            <a:off x="6152507" y="2475574"/>
            <a:ext cx="15197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400" b="1" i="1" dirty="0">
                <a:solidFill>
                  <a:schemeClr val="bg1"/>
                </a:solidFill>
                <a:latin typeface="+mj-lt"/>
              </a:rPr>
              <a:t>Hub santé /éducation</a:t>
            </a:r>
          </a:p>
        </p:txBody>
      </p:sp>
      <p:sp>
        <p:nvSpPr>
          <p:cNvPr id="33" name="Oval 6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331406" y="3439425"/>
            <a:ext cx="1522674" cy="802362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fr-FR">
              <a:latin typeface="+mj-lt"/>
            </a:endParaRPr>
          </a:p>
        </p:txBody>
      </p:sp>
      <p:sp>
        <p:nvSpPr>
          <p:cNvPr id="34" name="Rectangle 33"/>
          <p:cNvSpPr/>
          <p:nvPr>
            <p:custDataLst>
              <p:tags r:id="rId10"/>
            </p:custDataLst>
          </p:nvPr>
        </p:nvSpPr>
        <p:spPr>
          <a:xfrm>
            <a:off x="8338473" y="3624093"/>
            <a:ext cx="15197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400" b="1" i="1" dirty="0">
                <a:solidFill>
                  <a:schemeClr val="bg1"/>
                </a:solidFill>
                <a:latin typeface="+mj-lt"/>
              </a:rPr>
              <a:t>Business Park / </a:t>
            </a:r>
          </a:p>
          <a:p>
            <a:pPr algn="ctr"/>
            <a:r>
              <a:rPr lang="fr-FR" sz="1400" b="1" i="1" dirty="0">
                <a:solidFill>
                  <a:schemeClr val="bg1"/>
                </a:solidFill>
                <a:latin typeface="+mj-lt"/>
              </a:rPr>
              <a:t>base de vie</a:t>
            </a:r>
          </a:p>
        </p:txBody>
      </p:sp>
      <p:sp>
        <p:nvSpPr>
          <p:cNvPr id="35" name="Oval 6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1677298">
            <a:off x="9326166" y="3531415"/>
            <a:ext cx="186803" cy="11849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fol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9" tIns="72009" rIns="72009" bIns="72009" anchor="ctr"/>
          <a:lstStyle/>
          <a:p>
            <a:endParaRPr lang="fr-FR">
              <a:latin typeface="+mj-lt"/>
            </a:endParaRPr>
          </a:p>
        </p:txBody>
      </p:sp>
      <p:sp>
        <p:nvSpPr>
          <p:cNvPr id="36" name="Oval 6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331406" y="5450193"/>
            <a:ext cx="1522674" cy="802362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fr-FR">
              <a:latin typeface="+mj-lt"/>
            </a:endParaRPr>
          </a:p>
        </p:txBody>
      </p:sp>
      <p:sp>
        <p:nvSpPr>
          <p:cNvPr id="37" name="Rectangle 36"/>
          <p:cNvSpPr/>
          <p:nvPr>
            <p:custDataLst>
              <p:tags r:id="rId13"/>
            </p:custDataLst>
          </p:nvPr>
        </p:nvSpPr>
        <p:spPr>
          <a:xfrm>
            <a:off x="8343543" y="5704526"/>
            <a:ext cx="15197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400" b="1" i="1" dirty="0">
                <a:solidFill>
                  <a:schemeClr val="bg1"/>
                </a:solidFill>
                <a:latin typeface="+mj-lt"/>
              </a:rPr>
              <a:t>Tourisme</a:t>
            </a:r>
          </a:p>
        </p:txBody>
      </p:sp>
      <p:sp>
        <p:nvSpPr>
          <p:cNvPr id="38" name="Oval 69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1677298">
            <a:off x="9105611" y="5542183"/>
            <a:ext cx="186803" cy="11849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fol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9" tIns="72009" rIns="72009" bIns="72009" anchor="ctr"/>
          <a:lstStyle/>
          <a:p>
            <a:endParaRPr lang="fr-FR">
              <a:latin typeface="+mj-lt"/>
            </a:endParaRPr>
          </a:p>
        </p:txBody>
      </p:sp>
      <p:sp>
        <p:nvSpPr>
          <p:cNvPr id="39" name="Oval 6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180716" y="4423496"/>
            <a:ext cx="1522674" cy="802362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fr-FR">
              <a:latin typeface="+mj-lt"/>
            </a:endParaRPr>
          </a:p>
        </p:txBody>
      </p:sp>
      <p:sp>
        <p:nvSpPr>
          <p:cNvPr id="40" name="Rectangle 39"/>
          <p:cNvSpPr/>
          <p:nvPr>
            <p:custDataLst>
              <p:tags r:id="rId16"/>
            </p:custDataLst>
          </p:nvPr>
        </p:nvSpPr>
        <p:spPr>
          <a:xfrm>
            <a:off x="6180716" y="4765853"/>
            <a:ext cx="15197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400" b="1" i="1" dirty="0">
                <a:solidFill>
                  <a:schemeClr val="bg1"/>
                </a:solidFill>
                <a:latin typeface="+mj-lt"/>
              </a:rPr>
              <a:t>Hub aérien</a:t>
            </a:r>
          </a:p>
        </p:txBody>
      </p:sp>
      <p:sp>
        <p:nvSpPr>
          <p:cNvPr id="41" name="Oval 6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017083" y="5450193"/>
            <a:ext cx="1522674" cy="802362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fr-FR">
              <a:latin typeface="+mj-lt"/>
            </a:endParaRPr>
          </a:p>
        </p:txBody>
      </p:sp>
      <p:sp>
        <p:nvSpPr>
          <p:cNvPr id="42" name="Rectangle 41"/>
          <p:cNvSpPr/>
          <p:nvPr>
            <p:custDataLst>
              <p:tags r:id="rId18"/>
            </p:custDataLst>
          </p:nvPr>
        </p:nvSpPr>
        <p:spPr>
          <a:xfrm>
            <a:off x="4017083" y="5704526"/>
            <a:ext cx="15197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bg1"/>
                </a:solidFill>
                <a:latin typeface="+mj-lt"/>
              </a:rPr>
              <a:t>Offshoring</a:t>
            </a:r>
          </a:p>
        </p:txBody>
      </p:sp>
      <p:cxnSp>
        <p:nvCxnSpPr>
          <p:cNvPr id="43" name="Straight Arrow Connector 40"/>
          <p:cNvCxnSpPr/>
          <p:nvPr>
            <p:custDataLst>
              <p:tags r:id="rId19"/>
            </p:custDataLst>
          </p:nvPr>
        </p:nvCxnSpPr>
        <p:spPr>
          <a:xfrm>
            <a:off x="7570509" y="5175488"/>
            <a:ext cx="710867" cy="551982"/>
          </a:xfrm>
          <a:prstGeom prst="straightConnector1">
            <a:avLst/>
          </a:prstGeom>
          <a:ln w="12700"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>
            <p:custDataLst>
              <p:tags r:id="rId20"/>
            </p:custDataLst>
          </p:nvPr>
        </p:nvCxnSpPr>
        <p:spPr>
          <a:xfrm>
            <a:off x="7594103" y="2988086"/>
            <a:ext cx="912826" cy="582799"/>
          </a:xfrm>
          <a:prstGeom prst="straightConnector1">
            <a:avLst/>
          </a:prstGeom>
          <a:ln w="12700"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5" name="Straight Arrow Connector 45"/>
          <p:cNvCxnSpPr/>
          <p:nvPr>
            <p:custDataLst>
              <p:tags r:id="rId21"/>
            </p:custDataLst>
          </p:nvPr>
        </p:nvCxnSpPr>
        <p:spPr>
          <a:xfrm flipV="1">
            <a:off x="5584327" y="5187363"/>
            <a:ext cx="821100" cy="517690"/>
          </a:xfrm>
          <a:prstGeom prst="straightConnector1">
            <a:avLst/>
          </a:prstGeom>
          <a:ln w="12700">
            <a:headEnd type="arrow"/>
            <a:tailEnd type="non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6" name="Straight Arrow Connector 47"/>
          <p:cNvCxnSpPr/>
          <p:nvPr>
            <p:custDataLst>
              <p:tags r:id="rId22"/>
            </p:custDataLst>
          </p:nvPr>
        </p:nvCxnSpPr>
        <p:spPr>
          <a:xfrm flipV="1">
            <a:off x="4799636" y="4305623"/>
            <a:ext cx="0" cy="905490"/>
          </a:xfrm>
          <a:prstGeom prst="straightConnector1">
            <a:avLst/>
          </a:prstGeom>
          <a:ln w="12700">
            <a:headEnd type="arrow"/>
            <a:tailEnd type="non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7" name="Straight Arrow Connector 51"/>
          <p:cNvCxnSpPr/>
          <p:nvPr>
            <p:custDataLst>
              <p:tags r:id="rId23"/>
            </p:custDataLst>
          </p:nvPr>
        </p:nvCxnSpPr>
        <p:spPr>
          <a:xfrm>
            <a:off x="5417660" y="4141313"/>
            <a:ext cx="715409" cy="459428"/>
          </a:xfrm>
          <a:prstGeom prst="straightConnector1">
            <a:avLst/>
          </a:prstGeom>
          <a:ln w="12700"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8" name="Straight Arrow Connector 54"/>
          <p:cNvCxnSpPr/>
          <p:nvPr>
            <p:custDataLst>
              <p:tags r:id="rId24"/>
            </p:custDataLst>
          </p:nvPr>
        </p:nvCxnSpPr>
        <p:spPr>
          <a:xfrm rot="20195391" flipV="1">
            <a:off x="5271731" y="3071313"/>
            <a:ext cx="1024486" cy="261000"/>
          </a:xfrm>
          <a:prstGeom prst="straightConnector1">
            <a:avLst/>
          </a:prstGeom>
          <a:ln w="12700"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9" name="Straight Arrow Connector 61"/>
          <p:cNvCxnSpPr/>
          <p:nvPr>
            <p:custDataLst>
              <p:tags r:id="rId25"/>
            </p:custDataLst>
          </p:nvPr>
        </p:nvCxnSpPr>
        <p:spPr>
          <a:xfrm flipV="1">
            <a:off x="7703391" y="4241788"/>
            <a:ext cx="849813" cy="434215"/>
          </a:xfrm>
          <a:prstGeom prst="straightConnector1">
            <a:avLst/>
          </a:prstGeom>
          <a:ln w="12700"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0" name="Straight Arrow Connector 71"/>
          <p:cNvCxnSpPr/>
          <p:nvPr>
            <p:custDataLst>
              <p:tags r:id="rId26"/>
            </p:custDataLst>
          </p:nvPr>
        </p:nvCxnSpPr>
        <p:spPr>
          <a:xfrm flipV="1">
            <a:off x="6942053" y="3156040"/>
            <a:ext cx="19424" cy="1095743"/>
          </a:xfrm>
          <a:prstGeom prst="straightConnector1">
            <a:avLst/>
          </a:prstGeom>
          <a:ln w="12700">
            <a:headEnd type="none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1" name="Straight Arrow Connector 74"/>
          <p:cNvCxnSpPr/>
          <p:nvPr>
            <p:custDataLst>
              <p:tags r:id="rId27"/>
            </p:custDataLst>
          </p:nvPr>
        </p:nvCxnSpPr>
        <p:spPr>
          <a:xfrm>
            <a:off x="7452504" y="3063326"/>
            <a:ext cx="1195064" cy="2356923"/>
          </a:xfrm>
          <a:prstGeom prst="straightConnector1">
            <a:avLst/>
          </a:prstGeom>
          <a:ln w="12700"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52" name="Picture 131" descr="http://www.entreprise-domiciliation.fr/image/www.entreprise-domiciliation.fr/siege-social.jpg"/>
          <p:cNvPicPr>
            <a:picLocks noChangeArrowheads="1"/>
          </p:cNvPicPr>
          <p:nvPr>
            <p:custDataLst>
              <p:tags r:id="rId28"/>
            </p:custDataLst>
          </p:nvPr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2495" y="3301077"/>
            <a:ext cx="530525" cy="379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3" name="Group 77"/>
          <p:cNvGrpSpPr/>
          <p:nvPr>
            <p:custDataLst>
              <p:tags r:id="rId29"/>
            </p:custDataLst>
          </p:nvPr>
        </p:nvGrpSpPr>
        <p:grpSpPr>
          <a:xfrm>
            <a:off x="6616979" y="2126116"/>
            <a:ext cx="566317" cy="359011"/>
            <a:chOff x="4307849" y="754484"/>
            <a:chExt cx="4648599" cy="2520661"/>
          </a:xfrm>
        </p:grpSpPr>
        <p:pic>
          <p:nvPicPr>
            <p:cNvPr id="54" name="Picture 62"/>
            <p:cNvPicPr>
              <a:picLocks noChangeArrowheads="1"/>
            </p:cNvPicPr>
            <p:nvPr>
              <p:custDataLst>
                <p:tags r:id="rId54"/>
              </p:custDataLst>
            </p:nvPr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849" y="754484"/>
              <a:ext cx="2501398" cy="252066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65"/>
            <p:cNvPicPr>
              <a:picLocks noChangeAspect="1" noChangeArrowheads="1"/>
            </p:cNvPicPr>
            <p:nvPr>
              <p:custDataLst>
                <p:tags r:id="rId55"/>
              </p:custDataLst>
            </p:nvPr>
          </p:nvPicPr>
          <p:blipFill rotWithShape="1"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744"/>
            <a:stretch/>
          </p:blipFill>
          <p:spPr bwMode="auto">
            <a:xfrm>
              <a:off x="6515577" y="837609"/>
              <a:ext cx="2440871" cy="231256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6" name="Group 80"/>
          <p:cNvGrpSpPr/>
          <p:nvPr>
            <p:custDataLst>
              <p:tags r:id="rId30"/>
            </p:custDataLst>
          </p:nvPr>
        </p:nvGrpSpPr>
        <p:grpSpPr>
          <a:xfrm>
            <a:off x="8878132" y="5406789"/>
            <a:ext cx="474797" cy="332556"/>
            <a:chOff x="-1870051" y="2808817"/>
            <a:chExt cx="1243164" cy="968280"/>
          </a:xfrm>
        </p:grpSpPr>
        <p:pic>
          <p:nvPicPr>
            <p:cNvPr id="57" name="Picture 26"/>
            <p:cNvPicPr>
              <a:picLocks noChangeArrowheads="1"/>
            </p:cNvPicPr>
            <p:nvPr>
              <p:custDataLst>
                <p:tags r:id="rId50"/>
              </p:custDataLst>
            </p:nvPr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51296" y="2826975"/>
              <a:ext cx="624409" cy="535719"/>
            </a:xfrm>
            <a:prstGeom prst="rect">
              <a:avLst/>
            </a:prstGeom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Picture 4"/>
            <p:cNvPicPr>
              <a:picLocks noChangeAspect="1" noChangeArrowheads="1"/>
            </p:cNvPicPr>
            <p:nvPr>
              <p:custDataLst>
                <p:tags r:id="rId51"/>
              </p:custDataLst>
            </p:nvPr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862672" y="2808817"/>
              <a:ext cx="678948" cy="581972"/>
            </a:xfrm>
            <a:prstGeom prst="rect">
              <a:avLst/>
            </a:prstGeom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Picture 188"/>
            <p:cNvPicPr>
              <a:picLocks noChangeAspect="1" noChangeArrowheads="1"/>
            </p:cNvPicPr>
            <p:nvPr>
              <p:custDataLst>
                <p:tags r:id="rId52"/>
              </p:custDataLst>
            </p:nvPr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11631" y="3225207"/>
              <a:ext cx="584744" cy="551890"/>
            </a:xfrm>
            <a:prstGeom prst="rect">
              <a:avLst/>
            </a:prstGeom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" name="Picture 190"/>
            <p:cNvPicPr>
              <a:picLocks noChangeAspect="1" noChangeArrowheads="1"/>
            </p:cNvPicPr>
            <p:nvPr>
              <p:custDataLst>
                <p:tags r:id="rId53"/>
              </p:custDataLst>
            </p:nvPr>
          </p:nvPicPr>
          <p:blipFill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870051" y="3295712"/>
              <a:ext cx="720887" cy="481385"/>
            </a:xfrm>
            <a:prstGeom prst="rect">
              <a:avLst/>
            </a:prstGeom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1" name="Picture 11"/>
          <p:cNvPicPr>
            <a:picLocks noChangeArrowheads="1"/>
          </p:cNvPicPr>
          <p:nvPr>
            <p:custDataLst>
              <p:tags r:id="rId31"/>
            </p:custDataLst>
          </p:nvPr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611" y="4359978"/>
            <a:ext cx="527732" cy="379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131" descr="http://www.entreprise-domiciliation.fr/image/www.entreprise-domiciliation.fr/siege-social.jpg"/>
          <p:cNvPicPr>
            <a:picLocks noChangeArrowheads="1"/>
          </p:cNvPicPr>
          <p:nvPr>
            <p:custDataLst>
              <p:tags r:id="rId32"/>
            </p:custDataLst>
          </p:nvPr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2404" y="3301077"/>
            <a:ext cx="530525" cy="379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" descr="https://encrypted-tbn1.gstatic.com/images?q=tbn:ANd9GcRc_FYY_I-7x_Hk-mzfjqLtfhh75YbexK577848oIIvJB_LSBZTfw"/>
          <p:cNvPicPr>
            <a:picLocks noChangeArrowheads="1"/>
          </p:cNvPicPr>
          <p:nvPr>
            <p:custDataLst>
              <p:tags r:id="rId33"/>
            </p:custDataLst>
          </p:nvPr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2494" y="5365913"/>
            <a:ext cx="527732" cy="379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Oval 67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8331406" y="1529649"/>
            <a:ext cx="1522674" cy="80236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fr-FR">
              <a:latin typeface="+mj-lt"/>
            </a:endParaRPr>
          </a:p>
        </p:txBody>
      </p:sp>
      <p:pic>
        <p:nvPicPr>
          <p:cNvPr id="65" name="Picture 202" descr="http://www.bollore-africa-logistics.com/uploads/tx_templavoila/mining_header_01.JPG"/>
          <p:cNvPicPr>
            <a:picLocks noChangeArrowheads="1"/>
          </p:cNvPicPr>
          <p:nvPr>
            <p:custDataLst>
              <p:tags r:id="rId35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5196" y="1424588"/>
            <a:ext cx="527732" cy="379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Rectangle 65"/>
          <p:cNvSpPr/>
          <p:nvPr>
            <p:custDataLst>
              <p:tags r:id="rId36"/>
            </p:custDataLst>
          </p:nvPr>
        </p:nvSpPr>
        <p:spPr>
          <a:xfrm>
            <a:off x="8317001" y="1840252"/>
            <a:ext cx="15197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400" b="1" i="1" dirty="0">
                <a:latin typeface="+mj-lt"/>
              </a:rPr>
              <a:t>Hub minier</a:t>
            </a:r>
          </a:p>
        </p:txBody>
      </p:sp>
      <p:cxnSp>
        <p:nvCxnSpPr>
          <p:cNvPr id="67" name="Straight Arrow Connector 62"/>
          <p:cNvCxnSpPr>
            <a:cxnSpLocks/>
          </p:cNvCxnSpPr>
          <p:nvPr>
            <p:custDataLst>
              <p:tags r:id="rId37"/>
            </p:custDataLst>
          </p:nvPr>
        </p:nvCxnSpPr>
        <p:spPr>
          <a:xfrm flipV="1">
            <a:off x="7606134" y="2126079"/>
            <a:ext cx="749023" cy="343960"/>
          </a:xfrm>
          <a:prstGeom prst="straightConnector1">
            <a:avLst/>
          </a:prstGeom>
          <a:ln w="12700">
            <a:prstDash val="dash"/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68" name="Straight Arrow Connector 66"/>
          <p:cNvCxnSpPr/>
          <p:nvPr>
            <p:custDataLst>
              <p:tags r:id="rId38"/>
            </p:custDataLst>
          </p:nvPr>
        </p:nvCxnSpPr>
        <p:spPr>
          <a:xfrm rot="17507193" flipV="1">
            <a:off x="8728145" y="2701324"/>
            <a:ext cx="692576" cy="261000"/>
          </a:xfrm>
          <a:prstGeom prst="straightConnector1">
            <a:avLst/>
          </a:prstGeom>
          <a:ln w="12700">
            <a:prstDash val="dash"/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69" name="Straight Arrow Connector 75"/>
          <p:cNvCxnSpPr/>
          <p:nvPr>
            <p:custDataLst>
              <p:tags r:id="rId39"/>
            </p:custDataLst>
          </p:nvPr>
        </p:nvCxnSpPr>
        <p:spPr>
          <a:xfrm flipV="1">
            <a:off x="7470296" y="2485127"/>
            <a:ext cx="1177273" cy="1892585"/>
          </a:xfrm>
          <a:prstGeom prst="straightConnector1">
            <a:avLst/>
          </a:prstGeom>
          <a:ln w="12700">
            <a:prstDash val="dash"/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0" name="Straight Arrow Connector 89"/>
          <p:cNvCxnSpPr/>
          <p:nvPr>
            <p:custDataLst>
              <p:tags r:id="rId40"/>
            </p:custDataLst>
          </p:nvPr>
        </p:nvCxnSpPr>
        <p:spPr>
          <a:xfrm>
            <a:off x="5603650" y="3982428"/>
            <a:ext cx="2713350" cy="2462"/>
          </a:xfrm>
          <a:prstGeom prst="straightConnector1">
            <a:avLst/>
          </a:prstGeom>
          <a:ln w="12700"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71" name="Oval 67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4017083" y="1529649"/>
            <a:ext cx="1522674" cy="80236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fr-FR">
              <a:latin typeface="+mj-lt"/>
            </a:endParaRPr>
          </a:p>
        </p:txBody>
      </p:sp>
      <p:sp>
        <p:nvSpPr>
          <p:cNvPr id="72" name="Rectangle 71"/>
          <p:cNvSpPr/>
          <p:nvPr>
            <p:custDataLst>
              <p:tags r:id="rId42"/>
            </p:custDataLst>
          </p:nvPr>
        </p:nvSpPr>
        <p:spPr>
          <a:xfrm>
            <a:off x="4017083" y="1769001"/>
            <a:ext cx="15197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400" b="1" i="1" dirty="0">
                <a:latin typeface="+mj-lt"/>
              </a:rPr>
              <a:t>Hub logistique </a:t>
            </a:r>
          </a:p>
          <a:p>
            <a:pPr algn="ctr"/>
            <a:r>
              <a:rPr lang="fr-FR" sz="1400" b="1" i="1" dirty="0">
                <a:latin typeface="+mj-lt"/>
              </a:rPr>
              <a:t>et industriel  </a:t>
            </a:r>
          </a:p>
        </p:txBody>
      </p:sp>
      <p:pic>
        <p:nvPicPr>
          <p:cNvPr id="73" name="Picture 6"/>
          <p:cNvPicPr>
            <a:picLocks noChangeArrowheads="1"/>
          </p:cNvPicPr>
          <p:nvPr>
            <p:custDataLst>
              <p:tags r:id="rId43"/>
            </p:custDataLst>
          </p:nvPr>
        </p:nvPicPr>
        <p:blipFill rotWithShape="1"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18" r="10179"/>
          <a:stretch/>
        </p:blipFill>
        <p:spPr bwMode="auto">
          <a:xfrm>
            <a:off x="4522495" y="1424588"/>
            <a:ext cx="530525" cy="379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4" name="Straight Arrow Connector 98"/>
          <p:cNvCxnSpPr>
            <a:cxnSpLocks/>
          </p:cNvCxnSpPr>
          <p:nvPr>
            <p:custDataLst>
              <p:tags r:id="rId44"/>
            </p:custDataLst>
          </p:nvPr>
        </p:nvCxnSpPr>
        <p:spPr>
          <a:xfrm>
            <a:off x="5435164" y="2135241"/>
            <a:ext cx="749023" cy="343960"/>
          </a:xfrm>
          <a:prstGeom prst="straightConnector1">
            <a:avLst/>
          </a:prstGeom>
          <a:ln w="12700">
            <a:prstDash val="dash"/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5" name="Straight Arrow Connector 101"/>
          <p:cNvCxnSpPr/>
          <p:nvPr>
            <p:custDataLst>
              <p:tags r:id="rId45"/>
            </p:custDataLst>
          </p:nvPr>
        </p:nvCxnSpPr>
        <p:spPr>
          <a:xfrm rot="17507193" flipV="1">
            <a:off x="4453347" y="2701323"/>
            <a:ext cx="692576" cy="261000"/>
          </a:xfrm>
          <a:prstGeom prst="straightConnector1">
            <a:avLst/>
          </a:prstGeom>
          <a:ln w="12700">
            <a:prstDash val="dash"/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6" name="Straight Arrow Connector 104"/>
          <p:cNvCxnSpPr/>
          <p:nvPr/>
        </p:nvCxnSpPr>
        <p:spPr>
          <a:xfrm>
            <a:off x="5163490" y="2428373"/>
            <a:ext cx="1453488" cy="1942654"/>
          </a:xfrm>
          <a:prstGeom prst="straightConnector1">
            <a:avLst/>
          </a:prstGeom>
          <a:ln w="12700">
            <a:prstDash val="dash"/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7" name="Straight Arrow Connector 109"/>
          <p:cNvCxnSpPr/>
          <p:nvPr>
            <p:custDataLst>
              <p:tags r:id="rId46"/>
            </p:custDataLst>
          </p:nvPr>
        </p:nvCxnSpPr>
        <p:spPr>
          <a:xfrm>
            <a:off x="5584327" y="1840251"/>
            <a:ext cx="2717868" cy="0"/>
          </a:xfrm>
          <a:prstGeom prst="straightConnector1">
            <a:avLst/>
          </a:prstGeom>
          <a:ln w="12700">
            <a:prstDash val="dash"/>
            <a:headEnd type="arrow"/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pSp>
        <p:nvGrpSpPr>
          <p:cNvPr id="79" name="Group 68"/>
          <p:cNvGrpSpPr/>
          <p:nvPr/>
        </p:nvGrpSpPr>
        <p:grpSpPr>
          <a:xfrm>
            <a:off x="1473941" y="1337177"/>
            <a:ext cx="508132" cy="456233"/>
            <a:chOff x="-1707371" y="1199632"/>
            <a:chExt cx="1449758" cy="1431855"/>
          </a:xfrm>
        </p:grpSpPr>
        <p:sp>
          <p:nvSpPr>
            <p:cNvPr id="80" name="Oval 20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-1707371" y="1199632"/>
              <a:ext cx="1449758" cy="143185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1400" b="1">
                <a:latin typeface="+mj-lt"/>
              </a:endParaRPr>
            </a:p>
          </p:txBody>
        </p:sp>
        <p:sp>
          <p:nvSpPr>
            <p:cNvPr id="81" name="Oval 21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-1414989" y="1483087"/>
              <a:ext cx="864995" cy="86494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1400" b="1">
                <a:latin typeface="+mj-lt"/>
              </a:endParaRPr>
            </a:p>
          </p:txBody>
        </p:sp>
        <p:sp>
          <p:nvSpPr>
            <p:cNvPr id="82" name="Oval 22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-1126658" y="1771402"/>
              <a:ext cx="288332" cy="28831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fr-FR" sz="1400" b="1" dirty="0">
                <a:latin typeface="+mj-lt"/>
              </a:endParaRPr>
            </a:p>
          </p:txBody>
        </p:sp>
      </p:grpSp>
      <p:pic>
        <p:nvPicPr>
          <p:cNvPr id="88" name="Image 87"/>
          <p:cNvPicPr>
            <a:picLocks noChangeAspect="1"/>
          </p:cNvPicPr>
          <p:nvPr/>
        </p:nvPicPr>
        <p:blipFill>
          <a:blip r:embed="rId6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98" y="0"/>
            <a:ext cx="1082019" cy="79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49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1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1981200" y="6245225"/>
            <a:ext cx="2133600" cy="476250"/>
          </a:xfrm>
        </p:spPr>
        <p:txBody>
          <a:bodyPr/>
          <a:lstStyle/>
          <a:p>
            <a:pPr algn="l" defTabSz="957263">
              <a:defRPr/>
            </a:pPr>
            <a:fld id="{405BCC30-6365-4FE3-9001-AF4DEF0740DB}" type="slidenum">
              <a:rPr lang="en-GB">
                <a:latin typeface="+mn-lt"/>
              </a:rPr>
              <a:pPr algn="l" defTabSz="957263">
                <a:defRPr/>
              </a:pPr>
              <a:t>30</a:t>
            </a:fld>
            <a:endParaRPr lang="en-GB" dirty="0">
              <a:latin typeface="+mn-lt"/>
            </a:endParaRPr>
          </a:p>
        </p:txBody>
      </p:sp>
      <p:sp>
        <p:nvSpPr>
          <p:cNvPr id="1418347" name="AutoShape 107"/>
          <p:cNvSpPr>
            <a:spLocks noChangeArrowheads="1"/>
          </p:cNvSpPr>
          <p:nvPr/>
        </p:nvSpPr>
        <p:spPr bwMode="auto">
          <a:xfrm>
            <a:off x="6453188" y="722314"/>
            <a:ext cx="4062412" cy="6091237"/>
          </a:xfrm>
          <a:prstGeom prst="roundRect">
            <a:avLst>
              <a:gd name="adj" fmla="val 6505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54902"/>
                  <a:invGamma/>
                </a:schemeClr>
              </a:gs>
            </a:gsLst>
            <a:lin ang="5400000" scaled="1"/>
          </a:gradFill>
          <a:ln w="12700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18000" tIns="18000" rIns="18000" bIns="18000" anchor="ctr"/>
          <a:lstStyle/>
          <a:p>
            <a:pPr>
              <a:defRPr/>
            </a:pPr>
            <a:endParaRPr lang="fr-FR"/>
          </a:p>
        </p:txBody>
      </p:sp>
      <p:sp>
        <p:nvSpPr>
          <p:cNvPr id="5124" name="AutoShape 5"/>
          <p:cNvSpPr>
            <a:spLocks noChangeAspect="1" noChangeArrowheads="1" noTextEdit="1"/>
          </p:cNvSpPr>
          <p:nvPr/>
        </p:nvSpPr>
        <p:spPr bwMode="auto">
          <a:xfrm>
            <a:off x="8602664" y="1617663"/>
            <a:ext cx="4222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125" name="Rectangle 7"/>
          <p:cNvSpPr>
            <a:spLocks noChangeArrowheads="1"/>
          </p:cNvSpPr>
          <p:nvPr/>
        </p:nvSpPr>
        <p:spPr bwMode="auto">
          <a:xfrm>
            <a:off x="1524001" y="1519239"/>
            <a:ext cx="36513" cy="3127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8000" tIns="18000" rIns="18000" bIns="18000" anchor="ctr">
            <a:spAutoFit/>
          </a:bodyPr>
          <a:lstStyle/>
          <a:p>
            <a:endParaRPr lang="fr-FR"/>
          </a:p>
        </p:txBody>
      </p:sp>
      <p:sp>
        <p:nvSpPr>
          <p:cNvPr id="5126" name="Rectangle 8"/>
          <p:cNvSpPr>
            <a:spLocks noChangeArrowheads="1"/>
          </p:cNvSpPr>
          <p:nvPr/>
        </p:nvSpPr>
        <p:spPr bwMode="auto">
          <a:xfrm>
            <a:off x="1524001" y="1519239"/>
            <a:ext cx="36513" cy="3127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8000" tIns="18000" rIns="18000" bIns="18000" anchor="ctr">
            <a:spAutoFit/>
          </a:bodyPr>
          <a:lstStyle/>
          <a:p>
            <a:endParaRPr lang="fr-FR"/>
          </a:p>
        </p:txBody>
      </p:sp>
      <p:sp>
        <p:nvSpPr>
          <p:cNvPr id="5127" name="Rectangle 109"/>
          <p:cNvSpPr>
            <a:spLocks noChangeArrowheads="1"/>
          </p:cNvSpPr>
          <p:nvPr/>
        </p:nvSpPr>
        <p:spPr bwMode="auto">
          <a:xfrm>
            <a:off x="2567608" y="260648"/>
            <a:ext cx="6264696" cy="3746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anchor="b"/>
          <a:lstStyle/>
          <a:p>
            <a:pPr defTabSz="717550">
              <a:lnSpc>
                <a:spcPct val="85000"/>
              </a:lnSpc>
              <a:tabLst>
                <a:tab pos="633413" algn="l"/>
              </a:tabLst>
            </a:pPr>
            <a:r>
              <a:rPr lang="en-US" b="1" dirty="0">
                <a:solidFill>
                  <a:srgbClr val="C00000"/>
                </a:solidFill>
              </a:rPr>
              <a:t> CENTRE DE MAINTENANCE AERONAUTIQUE(MRO)</a:t>
            </a:r>
            <a:endParaRPr lang="en-GB" b="1" dirty="0">
              <a:solidFill>
                <a:srgbClr val="C00000"/>
              </a:solidFill>
            </a:endParaRPr>
          </a:p>
        </p:txBody>
      </p:sp>
      <p:sp>
        <p:nvSpPr>
          <p:cNvPr id="5130" name="AutoShape 19"/>
          <p:cNvSpPr>
            <a:spLocks noChangeArrowheads="1"/>
          </p:cNvSpPr>
          <p:nvPr/>
        </p:nvSpPr>
        <p:spPr bwMode="auto">
          <a:xfrm>
            <a:off x="1809750" y="1214439"/>
            <a:ext cx="4357688" cy="4929187"/>
          </a:xfrm>
          <a:prstGeom prst="flowChartAlternateProcess">
            <a:avLst/>
          </a:prstGeom>
          <a:solidFill>
            <a:srgbClr val="FFFFFF"/>
          </a:solidFill>
          <a:ln w="38100" cmpd="dbl">
            <a:solidFill>
              <a:srgbClr val="8DB3E2"/>
            </a:solidFill>
            <a:miter lim="800000"/>
            <a:headEnd/>
            <a:tailEnd/>
          </a:ln>
        </p:spPr>
        <p:txBody>
          <a:bodyPr/>
          <a:lstStyle/>
          <a:p>
            <a:pPr algn="just">
              <a:spcBef>
                <a:spcPts val="600"/>
              </a:spcBef>
              <a:spcAft>
                <a:spcPts val="1000"/>
              </a:spcAft>
            </a:pPr>
            <a:endParaRPr lang="fr-FR" sz="1000" dirty="0">
              <a:latin typeface="Palatino Linotype" pitchFamily="18" charset="0"/>
            </a:endParaRPr>
          </a:p>
          <a:p>
            <a:pPr>
              <a:spcBef>
                <a:spcPts val="600"/>
              </a:spcBef>
              <a:buFont typeface="Symbol" pitchFamily="18" charset="2"/>
              <a:buChar char="·"/>
            </a:pPr>
            <a:r>
              <a:rPr lang="fr-FR" sz="1600" dirty="0">
                <a:latin typeface="Palatino Linotype" pitchFamily="18" charset="0"/>
              </a:rPr>
              <a:t>Une superficie de l’emprise (97 000 m² y compris la réserve) ,</a:t>
            </a:r>
          </a:p>
          <a:p>
            <a:pPr>
              <a:spcBef>
                <a:spcPts val="600"/>
              </a:spcBef>
              <a:buFont typeface="Symbol" pitchFamily="18" charset="2"/>
              <a:buChar char="·"/>
            </a:pPr>
            <a:endParaRPr lang="fr-FR" sz="1600" dirty="0">
              <a:latin typeface="Palatino Linotype" pitchFamily="18" charset="0"/>
            </a:endParaRPr>
          </a:p>
          <a:p>
            <a:pPr>
              <a:buFont typeface="Symbol" pitchFamily="18" charset="2"/>
              <a:buChar char="·"/>
            </a:pPr>
            <a:r>
              <a:rPr lang="fr-FR" sz="1600" dirty="0">
                <a:latin typeface="Palatino Linotype" pitchFamily="18" charset="0"/>
              </a:rPr>
              <a:t>Un hangar grande portée (1 Gros Porteur / 2 Petits Porteurs) avec toutes les annexes (bureaux, boutiques, outillages etc..) ,</a:t>
            </a:r>
          </a:p>
          <a:p>
            <a:pPr>
              <a:buFont typeface="Symbol" pitchFamily="18" charset="2"/>
              <a:buChar char="·"/>
            </a:pPr>
            <a:endParaRPr lang="fr-FR" sz="1600" dirty="0">
              <a:latin typeface="Palatino Linotype" pitchFamily="18" charset="0"/>
            </a:endParaRPr>
          </a:p>
          <a:p>
            <a:pPr>
              <a:buFont typeface="Symbol" pitchFamily="18" charset="2"/>
              <a:buChar char="·"/>
            </a:pPr>
            <a:r>
              <a:rPr lang="fr-FR" sz="1600" dirty="0">
                <a:latin typeface="Palatino Linotype" pitchFamily="18" charset="0"/>
              </a:rPr>
              <a:t>Un tablier d’une superficie d’environ 30 000 m² sous le hangar,</a:t>
            </a:r>
          </a:p>
          <a:p>
            <a:pPr>
              <a:buFont typeface="Symbol" pitchFamily="18" charset="2"/>
              <a:buChar char="·"/>
            </a:pPr>
            <a:endParaRPr lang="fr-FR" sz="1600" dirty="0">
              <a:latin typeface="Palatino Linotype" pitchFamily="18" charset="0"/>
            </a:endParaRPr>
          </a:p>
          <a:p>
            <a:pPr algn="just">
              <a:spcBef>
                <a:spcPts val="600"/>
              </a:spcBef>
              <a:buFont typeface="Symbol" pitchFamily="18" charset="2"/>
              <a:buChar char="·"/>
            </a:pPr>
            <a:r>
              <a:rPr lang="fr-FR" sz="1600" dirty="0">
                <a:latin typeface="Palatino Linotype" pitchFamily="18" charset="0"/>
              </a:rPr>
              <a:t>Des aires de stationnement  additionnelles pour cinq (05) Gros porteurs.</a:t>
            </a:r>
          </a:p>
          <a:p>
            <a:pPr algn="just">
              <a:spcBef>
                <a:spcPts val="600"/>
              </a:spcBef>
              <a:buFont typeface="Symbol" pitchFamily="18" charset="2"/>
              <a:buChar char="·"/>
            </a:pPr>
            <a:r>
              <a:rPr lang="fr-FR" sz="1600" b="1" dirty="0">
                <a:solidFill>
                  <a:srgbClr val="C00000"/>
                </a:solidFill>
                <a:latin typeface="Palatino Linotype" pitchFamily="18" charset="0"/>
              </a:rPr>
              <a:t>Estimation : 53 millions d’euros</a:t>
            </a:r>
          </a:p>
        </p:txBody>
      </p:sp>
      <p:pic>
        <p:nvPicPr>
          <p:cNvPr id="513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53189" y="1000125"/>
            <a:ext cx="4071937" cy="277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32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40464" y="3714750"/>
            <a:ext cx="4427537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Shape 280"/>
          <p:cNvPicPr preferRelativeResize="0"/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25693" y="9167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Image 14" descr="AIBD sa"/>
          <p:cNvPicPr/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515599" y="119890"/>
            <a:ext cx="1609725" cy="753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17864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AutoShape 5"/>
          <p:cNvSpPr>
            <a:spLocks noChangeAspect="1" noChangeArrowheads="1" noTextEdit="1"/>
          </p:cNvSpPr>
          <p:nvPr/>
        </p:nvSpPr>
        <p:spPr bwMode="auto">
          <a:xfrm>
            <a:off x="8602664" y="1617663"/>
            <a:ext cx="4222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8437" name="Rectangle 7"/>
          <p:cNvSpPr>
            <a:spLocks noChangeArrowheads="1"/>
          </p:cNvSpPr>
          <p:nvPr/>
        </p:nvSpPr>
        <p:spPr bwMode="auto">
          <a:xfrm>
            <a:off x="1524001" y="1519239"/>
            <a:ext cx="36513" cy="3127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8000" tIns="18000" rIns="18000" bIns="18000" anchor="ctr">
            <a:spAutoFit/>
          </a:bodyPr>
          <a:lstStyle/>
          <a:p>
            <a:endParaRPr lang="fr-FR">
              <a:latin typeface="Calibri" pitchFamily="34" charset="0"/>
            </a:endParaRPr>
          </a:p>
        </p:txBody>
      </p:sp>
      <p:sp>
        <p:nvSpPr>
          <p:cNvPr id="18438" name="Rectangle 8"/>
          <p:cNvSpPr>
            <a:spLocks noChangeArrowheads="1"/>
          </p:cNvSpPr>
          <p:nvPr/>
        </p:nvSpPr>
        <p:spPr bwMode="auto">
          <a:xfrm>
            <a:off x="1524001" y="1519239"/>
            <a:ext cx="36513" cy="3127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8000" tIns="18000" rIns="18000" bIns="18000" anchor="ctr">
            <a:spAutoFit/>
          </a:bodyPr>
          <a:lstStyle/>
          <a:p>
            <a:endParaRPr lang="fr-FR">
              <a:latin typeface="Calibri" pitchFamily="34" charset="0"/>
            </a:endParaRPr>
          </a:p>
        </p:txBody>
      </p:sp>
      <p:sp>
        <p:nvSpPr>
          <p:cNvPr id="18439" name="ZoneTexte 7"/>
          <p:cNvSpPr txBox="1">
            <a:spLocks noChangeArrowheads="1"/>
          </p:cNvSpPr>
          <p:nvPr/>
        </p:nvSpPr>
        <p:spPr bwMode="auto">
          <a:xfrm>
            <a:off x="1250349" y="1527552"/>
            <a:ext cx="5975952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fr-FR" sz="2400" b="1" dirty="0" smtClean="0"/>
              <a:t>Développement d’une zone touristique autour de l’AIBD</a:t>
            </a:r>
          </a:p>
          <a:p>
            <a:endParaRPr lang="fr-FR" sz="2400" b="1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fr-FR" sz="2400" b="1" dirty="0" smtClean="0"/>
              <a:t>Développement </a:t>
            </a:r>
            <a:r>
              <a:rPr lang="fr-FR" sz="2400" b="1" dirty="0"/>
              <a:t>d’une zone </a:t>
            </a:r>
            <a:r>
              <a:rPr lang="fr-FR" sz="2400" b="1" dirty="0" smtClean="0"/>
              <a:t>d’exportation de classe internationale</a:t>
            </a:r>
          </a:p>
          <a:p>
            <a:endParaRPr lang="fr-FR" sz="2400" b="1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fr-FR" sz="2400" b="1" dirty="0" smtClean="0"/>
              <a:t>Développement </a:t>
            </a:r>
            <a:r>
              <a:rPr lang="fr-FR" sz="2400" b="1" dirty="0"/>
              <a:t>d’une zone commerciale</a:t>
            </a:r>
          </a:p>
          <a:p>
            <a:endParaRPr lang="fr-FR" sz="2400" b="1" dirty="0"/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auto">
          <a:xfrm>
            <a:off x="7261226" y="4581525"/>
            <a:ext cx="225425" cy="255588"/>
          </a:xfrm>
          <a:prstGeom prst="octagon">
            <a:avLst>
              <a:gd name="adj" fmla="val 29287"/>
            </a:avLst>
          </a:prstGeom>
          <a:solidFill>
            <a:srgbClr val="0000FF">
              <a:alpha val="50195"/>
            </a:srgbClr>
          </a:solidFill>
          <a:ln w="25400">
            <a:solidFill>
              <a:srgbClr val="0000FF"/>
            </a:solidFill>
            <a:miter lim="800000"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7548564" y="4613276"/>
            <a:ext cx="2363787" cy="282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8000" tIns="18000" rIns="18000" bIns="18000" anchor="ctr">
            <a:spAutoFit/>
          </a:bodyPr>
          <a:lstStyle/>
          <a:p>
            <a:pPr eaLnBrk="0" hangingPunct="0"/>
            <a:r>
              <a:rPr lang="fr-FR" sz="1600" dirty="0">
                <a:solidFill>
                  <a:srgbClr val="000000"/>
                </a:solidFill>
                <a:cs typeface="Times New Roman" pitchFamily="18" charset="0"/>
              </a:rPr>
              <a:t>Aéroport Existant</a:t>
            </a:r>
            <a:endParaRPr lang="fr-FR" sz="3600" dirty="0">
              <a:cs typeface="Times New Roman" pitchFamily="18" charset="0"/>
            </a:endParaRPr>
          </a:p>
        </p:txBody>
      </p:sp>
      <p:sp>
        <p:nvSpPr>
          <p:cNvPr id="10" name="Oval 10"/>
          <p:cNvSpPr>
            <a:spLocks noChangeArrowheads="1"/>
          </p:cNvSpPr>
          <p:nvPr/>
        </p:nvSpPr>
        <p:spPr bwMode="auto">
          <a:xfrm>
            <a:off x="7234239" y="5118100"/>
            <a:ext cx="225425" cy="255588"/>
          </a:xfrm>
          <a:prstGeom prst="ellipse">
            <a:avLst/>
          </a:prstGeom>
          <a:solidFill>
            <a:srgbClr val="FF0000">
              <a:alpha val="50195"/>
            </a:srgbClr>
          </a:solidFill>
          <a:ln w="25400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auto">
          <a:xfrm>
            <a:off x="7523164" y="5045076"/>
            <a:ext cx="960437" cy="282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8000" tIns="18000" rIns="18000" bIns="18000" anchor="ctr">
            <a:spAutoFit/>
          </a:bodyPr>
          <a:lstStyle/>
          <a:p>
            <a:pPr eaLnBrk="0" hangingPunct="0"/>
            <a:r>
              <a:rPr lang="en-GB" sz="1600">
                <a:solidFill>
                  <a:srgbClr val="000000"/>
                </a:solidFill>
                <a:cs typeface="Times New Roman" pitchFamily="18" charset="0"/>
              </a:rPr>
              <a:t>AIBD	</a:t>
            </a:r>
            <a:endParaRPr lang="en-GB" sz="3600">
              <a:cs typeface="Times New Roman" pitchFamily="18" charset="0"/>
            </a:endParaRPr>
          </a:p>
        </p:txBody>
      </p:sp>
      <p:sp>
        <p:nvSpPr>
          <p:cNvPr id="12" name="Oval 12"/>
          <p:cNvSpPr>
            <a:spLocks noChangeArrowheads="1"/>
          </p:cNvSpPr>
          <p:nvPr/>
        </p:nvSpPr>
        <p:spPr bwMode="auto">
          <a:xfrm>
            <a:off x="7226301" y="5549900"/>
            <a:ext cx="225425" cy="255588"/>
          </a:xfrm>
          <a:prstGeom prst="ellipse">
            <a:avLst/>
          </a:prstGeom>
          <a:solidFill>
            <a:srgbClr val="F4F04A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7523164" y="5548314"/>
            <a:ext cx="1882775" cy="282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8000" tIns="18000" rIns="18000" bIns="18000" anchor="ctr">
            <a:spAutoFit/>
          </a:bodyPr>
          <a:lstStyle/>
          <a:p>
            <a:pPr eaLnBrk="0" hangingPunct="0"/>
            <a:r>
              <a:rPr lang="fr-FR" sz="1600">
                <a:solidFill>
                  <a:srgbClr val="000000"/>
                </a:solidFill>
                <a:cs typeface="Times New Roman" pitchFamily="18" charset="0"/>
              </a:rPr>
              <a:t>Zone Touristique</a:t>
            </a:r>
            <a:r>
              <a:rPr lang="en-GB" sz="1600">
                <a:solidFill>
                  <a:srgbClr val="000000"/>
                </a:solidFill>
                <a:cs typeface="Times New Roman" pitchFamily="18" charset="0"/>
              </a:rPr>
              <a:t>	</a:t>
            </a:r>
            <a:endParaRPr lang="en-GB" sz="3600">
              <a:cs typeface="Times New Roman" pitchFamily="18" charset="0"/>
            </a:endParaRPr>
          </a:p>
        </p:txBody>
      </p:sp>
      <p:sp>
        <p:nvSpPr>
          <p:cNvPr id="14" name="Oval 14"/>
          <p:cNvSpPr>
            <a:spLocks noChangeArrowheads="1"/>
          </p:cNvSpPr>
          <p:nvPr/>
        </p:nvSpPr>
        <p:spPr bwMode="auto">
          <a:xfrm>
            <a:off x="7248526" y="5983289"/>
            <a:ext cx="225425" cy="255587"/>
          </a:xfrm>
          <a:prstGeom prst="ellipse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7535864" y="5948365"/>
            <a:ext cx="2304601" cy="2825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8000" tIns="18000" rIns="18000" bIns="18000" anchor="ctr">
            <a:spAutoFit/>
          </a:bodyPr>
          <a:lstStyle/>
          <a:p>
            <a:pPr eaLnBrk="0" hangingPunct="0"/>
            <a:r>
              <a:rPr lang="en-GB" sz="160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fr-FR" sz="1600" dirty="0">
                <a:solidFill>
                  <a:srgbClr val="000000"/>
                </a:solidFill>
                <a:cs typeface="Times New Roman" pitchFamily="18" charset="0"/>
              </a:rPr>
              <a:t>Domaine Commercial</a:t>
            </a:r>
            <a:endParaRPr lang="fr-FR" sz="3600" dirty="0">
              <a:cs typeface="Times New Roman" pitchFamily="18" charset="0"/>
            </a:endParaRPr>
          </a:p>
        </p:txBody>
      </p:sp>
      <p:pic>
        <p:nvPicPr>
          <p:cNvPr id="16" name="Picture 1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1235" y="1192510"/>
            <a:ext cx="4347408" cy="324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50" name="ZoneTexte 17"/>
          <p:cNvSpPr txBox="1">
            <a:spLocks noChangeArrowheads="1"/>
          </p:cNvSpPr>
          <p:nvPr/>
        </p:nvSpPr>
        <p:spPr bwMode="auto">
          <a:xfrm>
            <a:off x="4319982" y="-60393"/>
            <a:ext cx="284404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3200" b="1" dirty="0" smtClean="0"/>
              <a:t>PERSPECTIVES</a:t>
            </a:r>
            <a:endParaRPr lang="fr-FR" sz="3200" b="1" dirty="0"/>
          </a:p>
        </p:txBody>
      </p:sp>
      <p:pic>
        <p:nvPicPr>
          <p:cNvPr id="22" name="Shape 280"/>
          <p:cNvPicPr preferRelativeResize="0"/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25693" y="231994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Image 22" descr="AIBD sa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9848874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 animBg="1"/>
      <p:bldP spid="11" grpId="0"/>
      <p:bldP spid="12" grpId="0" animBg="1"/>
      <p:bldP spid="13" grpId="0"/>
      <p:bldP spid="14" grpId="0" animBg="1"/>
      <p:bldP spid="1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81928" y="116632"/>
            <a:ext cx="7498080" cy="1143000"/>
          </a:xfrm>
          <a:solidFill>
            <a:schemeClr val="accent2"/>
          </a:solidFill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txBody>
          <a:bodyPr>
            <a:normAutofit/>
          </a:bodyPr>
          <a:lstStyle/>
          <a:p>
            <a:pPr algn="ctr"/>
            <a:r>
              <a:rPr lang="fr-FR" dirty="0" smtClean="0"/>
              <a:t>CONCLUSION :ANALYSE SWOT</a:t>
            </a:r>
            <a:endParaRPr lang="fr-FR" dirty="0"/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578666020"/>
              </p:ext>
            </p:extLst>
          </p:nvPr>
        </p:nvGraphicFramePr>
        <p:xfrm>
          <a:off x="1311579" y="1524001"/>
          <a:ext cx="5318221" cy="4664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Espace réservé du contenu 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544602084"/>
              </p:ext>
            </p:extLst>
          </p:nvPr>
        </p:nvGraphicFramePr>
        <p:xfrm>
          <a:off x="6819594" y="1588535"/>
          <a:ext cx="4819650" cy="4664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C9C2A2A-5B4A-4E27-B60D-A6F051C43B21}" type="slidenum">
              <a:rPr lang="fr-FR" smtClean="0"/>
              <a:pPr>
                <a:defRPr/>
              </a:pPr>
              <a:t>32</a:t>
            </a:fld>
            <a:endParaRPr lang="fr-FR"/>
          </a:p>
        </p:txBody>
      </p:sp>
      <p:pic>
        <p:nvPicPr>
          <p:cNvPr id="9" name="Picture 7" descr="C:\Users\Pavilion\Documents\Présentation\Dakar et le reste du monde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434528" y="5300393"/>
            <a:ext cx="1661472" cy="14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379324" y="5323301"/>
            <a:ext cx="2568624" cy="138736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524000" y="6188076"/>
            <a:ext cx="4572000" cy="7232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66700" indent="-266700" eaLnBrk="0" hangingPunct="0">
              <a:spcAft>
                <a:spcPts val="600"/>
              </a:spcAft>
              <a:buClr>
                <a:srgbClr val="FF6600"/>
              </a:buClr>
              <a:buFont typeface="Wingdings" pitchFamily="2" charset="2"/>
              <a:buChar char="§"/>
            </a:pPr>
            <a:r>
              <a:rPr lang="en-US" dirty="0">
                <a:latin typeface="Cambria" pitchFamily="18" charset="0"/>
              </a:rPr>
              <a:t>Temps GMT (+0:00)</a:t>
            </a:r>
          </a:p>
          <a:p>
            <a:pPr marL="266700" indent="-266700" eaLnBrk="0" hangingPunct="0">
              <a:spcAft>
                <a:spcPts val="600"/>
              </a:spcAft>
              <a:buClr>
                <a:srgbClr val="FF6600"/>
              </a:buClr>
              <a:buFont typeface="Wingdings" pitchFamily="2" charset="2"/>
              <a:buChar char="§"/>
            </a:pPr>
            <a:r>
              <a:rPr lang="en-US" dirty="0" err="1">
                <a:latin typeface="Cambria" pitchFamily="18" charset="0"/>
              </a:rPr>
              <a:t>Situé</a:t>
            </a:r>
            <a:r>
              <a:rPr lang="en-US" dirty="0">
                <a:latin typeface="Cambria" pitchFamily="18" charset="0"/>
              </a:rPr>
              <a:t> à la pointe </a:t>
            </a:r>
            <a:r>
              <a:rPr lang="en-US" dirty="0" err="1">
                <a:latin typeface="Cambria" pitchFamily="18" charset="0"/>
              </a:rPr>
              <a:t>ouest</a:t>
            </a:r>
            <a:r>
              <a:rPr lang="en-US" dirty="0">
                <a:latin typeface="Cambria" pitchFamily="18" charset="0"/>
              </a:rPr>
              <a:t> de </a:t>
            </a:r>
            <a:r>
              <a:rPr lang="en-US" dirty="0" err="1">
                <a:latin typeface="Cambria" pitchFamily="18" charset="0"/>
              </a:rPr>
              <a:t>l’Afrique</a:t>
            </a:r>
            <a:r>
              <a:rPr lang="en-US" dirty="0">
                <a:latin typeface="Cambria" pitchFamily="18" charset="0"/>
              </a:rPr>
              <a:t>:</a:t>
            </a:r>
          </a:p>
        </p:txBody>
      </p:sp>
      <p:pic>
        <p:nvPicPr>
          <p:cNvPr id="11" name="Shape 280"/>
          <p:cNvPicPr preferRelativeResize="0"/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652124" y="-48950"/>
            <a:ext cx="849955" cy="7509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 descr="AIBD sa"/>
          <p:cNvPicPr/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23156" y="186625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3207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43" descr="PERSPECTIVE Termina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796" name="Image 1" descr="AIBD sa"/>
          <p:cNvSpPr>
            <a:spLocks noChangeAspect="1" noChangeArrowheads="1"/>
          </p:cNvSpPr>
          <p:nvPr/>
        </p:nvSpPr>
        <p:spPr bwMode="auto">
          <a:xfrm>
            <a:off x="1666875" y="177801"/>
            <a:ext cx="1500188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fr-FR"/>
          </a:p>
        </p:txBody>
      </p:sp>
      <p:pic>
        <p:nvPicPr>
          <p:cNvPr id="33799" name="Picture 29" descr="Logo AIBD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51884" y="5934471"/>
            <a:ext cx="1584176" cy="90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Image 12" descr="C:\andiaye sur 'svr users\prentat° and video&amp; images\Visuel-AIBD-EnfantAvion.jpg"/>
          <p:cNvPicPr/>
          <p:nvPr/>
        </p:nvPicPr>
        <p:blipFill>
          <a:blip r:embed="rId5" cstate="print"/>
          <a:srcRect l="26509" t="12027" r="23262" b="8938"/>
          <a:stretch>
            <a:fillRect/>
          </a:stretch>
        </p:blipFill>
        <p:spPr bwMode="auto">
          <a:xfrm>
            <a:off x="4007768" y="2276872"/>
            <a:ext cx="3672408" cy="3168352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ZoneTexte 10"/>
          <p:cNvSpPr txBox="1"/>
          <p:nvPr/>
        </p:nvSpPr>
        <p:spPr>
          <a:xfrm>
            <a:off x="1524000" y="980729"/>
            <a:ext cx="9144000" cy="646331"/>
          </a:xfrm>
          <a:prstGeom prst="rect">
            <a:avLst/>
          </a:prstGeom>
          <a:ln w="76200">
            <a:solidFill>
              <a:schemeClr val="accent6">
                <a:lumMod val="75000"/>
              </a:schemeClr>
            </a:solidFill>
          </a:ln>
          <a:scene3d>
            <a:camera prst="perspectiveContrastingRightFacing"/>
            <a:lightRig rig="threePt" dir="t"/>
          </a:scene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3600" dirty="0"/>
              <a:t>Merci pour votre aimable attention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207568" y="5517233"/>
            <a:ext cx="7776864" cy="461665"/>
          </a:xfrm>
          <a:prstGeom prst="rect">
            <a:avLst/>
          </a:prstGeom>
          <a:ln w="76200"/>
          <a:scene3d>
            <a:camera prst="perspectiveRelaxed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rgbClr val="002060"/>
                </a:solidFill>
              </a:rPr>
              <a:t>l’espérance d’un Sénégal émergent</a:t>
            </a:r>
            <a:endParaRPr lang="fr-FR" sz="2400" dirty="0"/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>
          <a:xfrm>
            <a:off x="6636060" y="6405041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30 MARS 2017</a:t>
            </a:r>
            <a:endParaRPr lang="fr-FR" dirty="0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33</a:t>
            </a:fld>
            <a:endParaRPr lang="fr-FR"/>
          </a:p>
        </p:txBody>
      </p:sp>
      <p:pic>
        <p:nvPicPr>
          <p:cNvPr id="17" name="Shape 280"/>
          <p:cNvPicPr preferRelativeResize="0"/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313271" y="18061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Image 17" descr="AIBD sa"/>
          <p:cNvPicPr/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24298868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" name="Shape 266"/>
          <p:cNvGrpSpPr/>
          <p:nvPr/>
        </p:nvGrpSpPr>
        <p:grpSpPr>
          <a:xfrm>
            <a:off x="2058777" y="1201076"/>
            <a:ext cx="4975647" cy="4698762"/>
            <a:chOff x="3866485" y="1323553"/>
            <a:chExt cx="4459029" cy="4210894"/>
          </a:xfrm>
        </p:grpSpPr>
        <p:sp>
          <p:nvSpPr>
            <p:cNvPr id="267" name="Shape 267"/>
            <p:cNvSpPr/>
            <p:nvPr/>
          </p:nvSpPr>
          <p:spPr>
            <a:xfrm>
              <a:off x="3866485" y="2640768"/>
              <a:ext cx="2116128" cy="289367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2046" y="0"/>
                  </a:moveTo>
                  <a:cubicBezTo>
                    <a:pt x="93374" y="0"/>
                    <a:pt x="104166" y="1678"/>
                    <a:pt x="113982" y="4715"/>
                  </a:cubicBezTo>
                  <a:lnTo>
                    <a:pt x="120000" y="6834"/>
                  </a:lnTo>
                  <a:lnTo>
                    <a:pt x="112721" y="10915"/>
                  </a:lnTo>
                  <a:cubicBezTo>
                    <a:pt x="93932" y="22817"/>
                    <a:pt x="82046" y="40393"/>
                    <a:pt x="82046" y="60000"/>
                  </a:cubicBezTo>
                  <a:lnTo>
                    <a:pt x="82155" y="61583"/>
                  </a:lnTo>
                  <a:lnTo>
                    <a:pt x="82155" y="61583"/>
                  </a:lnTo>
                  <a:lnTo>
                    <a:pt x="82504" y="66637"/>
                  </a:lnTo>
                  <a:cubicBezTo>
                    <a:pt x="84891" y="83822"/>
                    <a:pt x="96444" y="99025"/>
                    <a:pt x="113531" y="109591"/>
                  </a:cubicBezTo>
                  <a:lnTo>
                    <a:pt x="119990" y="113168"/>
                  </a:lnTo>
                  <a:lnTo>
                    <a:pt x="113982" y="115284"/>
                  </a:lnTo>
                  <a:cubicBezTo>
                    <a:pt x="104166" y="118321"/>
                    <a:pt x="93374" y="120000"/>
                    <a:pt x="82046" y="120000"/>
                  </a:cubicBezTo>
                  <a:cubicBezTo>
                    <a:pt x="36733" y="120000"/>
                    <a:pt x="0" y="93137"/>
                    <a:pt x="0" y="60000"/>
                  </a:cubicBezTo>
                  <a:cubicBezTo>
                    <a:pt x="0" y="26862"/>
                    <a:pt x="36733" y="0"/>
                    <a:pt x="82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3AC1E">
                    <a:tint val="66000"/>
                    <a:satMod val="160000"/>
                  </a:srgbClr>
                </a:gs>
                <a:gs pos="50000">
                  <a:srgbClr val="F3AC1E">
                    <a:tint val="44500"/>
                    <a:satMod val="160000"/>
                  </a:srgbClr>
                </a:gs>
                <a:gs pos="100000">
                  <a:srgbClr val="F3AC1E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gradFill flip="none" rotWithShape="1">
                  <a:gsLst>
                    <a:gs pos="0">
                      <a:schemeClr val="dk1">
                        <a:tint val="66000"/>
                        <a:satMod val="160000"/>
                      </a:schemeClr>
                    </a:gs>
                    <a:gs pos="50000">
                      <a:schemeClr val="dk1">
                        <a:tint val="44500"/>
                        <a:satMod val="160000"/>
                      </a:schemeClr>
                    </a:gs>
                    <a:gs pos="100000">
                      <a:schemeClr val="dk1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68" name="Shape 268"/>
            <p:cNvSpPr/>
            <p:nvPr/>
          </p:nvSpPr>
          <p:spPr>
            <a:xfrm>
              <a:off x="5436876" y="2868165"/>
              <a:ext cx="2888638" cy="266628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2153" y="0"/>
                  </a:moveTo>
                  <a:lnTo>
                    <a:pt x="93500" y="886"/>
                  </a:lnTo>
                  <a:cubicBezTo>
                    <a:pt x="109488" y="12588"/>
                    <a:pt x="120000" y="32405"/>
                    <a:pt x="120000" y="54882"/>
                  </a:cubicBezTo>
                  <a:cubicBezTo>
                    <a:pt x="120000" y="90846"/>
                    <a:pt x="93090" y="120000"/>
                    <a:pt x="59895" y="120000"/>
                  </a:cubicBezTo>
                  <a:cubicBezTo>
                    <a:pt x="28775" y="120000"/>
                    <a:pt x="3178" y="94376"/>
                    <a:pt x="100" y="61540"/>
                  </a:cubicBezTo>
                  <a:lnTo>
                    <a:pt x="0" y="59375"/>
                  </a:lnTo>
                  <a:lnTo>
                    <a:pt x="3537" y="61163"/>
                  </a:lnTo>
                  <a:cubicBezTo>
                    <a:pt x="10920" y="64317"/>
                    <a:pt x="18964" y="66050"/>
                    <a:pt x="27381" y="66050"/>
                  </a:cubicBezTo>
                  <a:cubicBezTo>
                    <a:pt x="38604" y="66050"/>
                    <a:pt x="49163" y="62970"/>
                    <a:pt x="58377" y="57547"/>
                  </a:cubicBezTo>
                  <a:lnTo>
                    <a:pt x="59815" y="56601"/>
                  </a:lnTo>
                  <a:lnTo>
                    <a:pt x="59815" y="56601"/>
                  </a:lnTo>
                  <a:lnTo>
                    <a:pt x="63739" y="54018"/>
                  </a:lnTo>
                  <a:cubicBezTo>
                    <a:pt x="78874" y="42940"/>
                    <a:pt x="89473" y="25140"/>
                    <a:pt x="91886" y="4572"/>
                  </a:cubicBezTo>
                  <a:lnTo>
                    <a:pt x="92153" y="0"/>
                  </a:lnTo>
                  <a:close/>
                </a:path>
              </a:pathLst>
            </a:custGeom>
            <a:solidFill>
              <a:srgbClr val="A1B400"/>
            </a:solidFill>
            <a:ln w="3175">
              <a:solidFill>
                <a:schemeClr val="accent6">
                  <a:lumMod val="50000"/>
                </a:schemeClr>
              </a:solidFill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gradFill flip="none" rotWithShape="1">
                  <a:gsLst>
                    <a:gs pos="0">
                      <a:schemeClr val="dk1">
                        <a:tint val="66000"/>
                        <a:satMod val="160000"/>
                      </a:schemeClr>
                    </a:gs>
                    <a:gs pos="50000">
                      <a:schemeClr val="dk1">
                        <a:tint val="44500"/>
                        <a:satMod val="160000"/>
                      </a:schemeClr>
                    </a:gs>
                    <a:gs pos="100000">
                      <a:schemeClr val="dk1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69" name="Shape 269"/>
            <p:cNvSpPr/>
            <p:nvPr/>
          </p:nvSpPr>
          <p:spPr>
            <a:xfrm>
              <a:off x="4654201" y="1323553"/>
              <a:ext cx="2888638" cy="266628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9895" y="0"/>
                  </a:moveTo>
                  <a:cubicBezTo>
                    <a:pt x="93090" y="0"/>
                    <a:pt x="120000" y="29153"/>
                    <a:pt x="120000" y="65117"/>
                  </a:cubicBezTo>
                  <a:cubicBezTo>
                    <a:pt x="120000" y="87594"/>
                    <a:pt x="109488" y="107411"/>
                    <a:pt x="93500" y="119113"/>
                  </a:cubicBezTo>
                  <a:lnTo>
                    <a:pt x="92153" y="120000"/>
                  </a:lnTo>
                  <a:lnTo>
                    <a:pt x="91886" y="115427"/>
                  </a:lnTo>
                  <a:cubicBezTo>
                    <a:pt x="89473" y="94859"/>
                    <a:pt x="78874" y="77059"/>
                    <a:pt x="63739" y="65981"/>
                  </a:cubicBezTo>
                  <a:lnTo>
                    <a:pt x="59895" y="63451"/>
                  </a:lnTo>
                  <a:lnTo>
                    <a:pt x="59895" y="63451"/>
                  </a:lnTo>
                  <a:lnTo>
                    <a:pt x="58377" y="62452"/>
                  </a:lnTo>
                  <a:cubicBezTo>
                    <a:pt x="49163" y="57029"/>
                    <a:pt x="38604" y="53949"/>
                    <a:pt x="27381" y="53949"/>
                  </a:cubicBezTo>
                  <a:cubicBezTo>
                    <a:pt x="18964" y="53949"/>
                    <a:pt x="10920" y="55682"/>
                    <a:pt x="3537" y="58836"/>
                  </a:cubicBezTo>
                  <a:lnTo>
                    <a:pt x="0" y="60624"/>
                  </a:lnTo>
                  <a:lnTo>
                    <a:pt x="100" y="58459"/>
                  </a:lnTo>
                  <a:cubicBezTo>
                    <a:pt x="3178" y="25623"/>
                    <a:pt x="28775" y="0"/>
                    <a:pt x="5989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E3F18">
                    <a:tint val="66000"/>
                    <a:satMod val="160000"/>
                  </a:srgbClr>
                </a:gs>
                <a:gs pos="50000">
                  <a:srgbClr val="DE3F18">
                    <a:tint val="44500"/>
                    <a:satMod val="160000"/>
                  </a:srgbClr>
                </a:gs>
                <a:gs pos="100000">
                  <a:srgbClr val="DE3F18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70" name="Shape 270"/>
            <p:cNvSpPr/>
            <p:nvPr/>
          </p:nvSpPr>
          <p:spPr>
            <a:xfrm>
              <a:off x="5582610" y="4303976"/>
              <a:ext cx="2735414" cy="524057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Réhabilitation des aérodromes régionaux</a:t>
              </a:r>
            </a:p>
          </p:txBody>
        </p:sp>
        <p:grpSp>
          <p:nvGrpSpPr>
            <p:cNvPr id="271" name="Shape 271"/>
            <p:cNvGrpSpPr/>
            <p:nvPr/>
          </p:nvGrpSpPr>
          <p:grpSpPr>
            <a:xfrm>
              <a:off x="4942686" y="1847461"/>
              <a:ext cx="2697750" cy="634387"/>
              <a:chOff x="1143537" y="4428142"/>
              <a:chExt cx="3211232" cy="634387"/>
            </a:xfrm>
          </p:grpSpPr>
          <p:sp>
            <p:nvSpPr>
              <p:cNvPr id="272" name="Shape 272"/>
              <p:cNvSpPr/>
              <p:nvPr/>
            </p:nvSpPr>
            <p:spPr>
              <a:xfrm>
                <a:off x="2850948" y="4698276"/>
                <a:ext cx="1503821" cy="22065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just" rtl="0">
                  <a:spcBef>
                    <a:spcPts val="0"/>
                  </a:spcBef>
                  <a:buNone/>
                </a:pPr>
                <a:endParaRPr sz="10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273" name="Shape 273"/>
              <p:cNvSpPr/>
              <p:nvPr/>
            </p:nvSpPr>
            <p:spPr>
              <a:xfrm>
                <a:off x="1143537" y="4428142"/>
                <a:ext cx="2777343" cy="6343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SzPct val="25000"/>
                  <a:buNone/>
                </a:pPr>
                <a:r>
                  <a:rPr lang="fr-CA" sz="2000" b="1" dirty="0">
                    <a:gradFill flip="none" rotWithShape="1">
                      <a:gsLst>
                        <a:gs pos="0">
                          <a:schemeClr val="dk1">
                            <a:tint val="66000"/>
                            <a:satMod val="160000"/>
                          </a:schemeClr>
                        </a:gs>
                        <a:gs pos="50000">
                          <a:schemeClr val="dk1">
                            <a:tint val="44500"/>
                            <a:satMod val="160000"/>
                          </a:schemeClr>
                        </a:gs>
                        <a:gs pos="100000">
                          <a:schemeClr val="dk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  <a:latin typeface="Century Gothic"/>
                    <a:ea typeface="Century Gothic"/>
                    <a:cs typeface="Century Gothic"/>
                    <a:sym typeface="Century Gothic"/>
                  </a:rPr>
                  <a:t>Mise en service de l’AIBD</a:t>
                </a:r>
              </a:p>
            </p:txBody>
          </p:sp>
        </p:grpSp>
        <p:sp>
          <p:nvSpPr>
            <p:cNvPr id="274" name="Shape 274"/>
            <p:cNvSpPr/>
            <p:nvPr/>
          </p:nvSpPr>
          <p:spPr>
            <a:xfrm>
              <a:off x="3876651" y="3507151"/>
              <a:ext cx="1560225" cy="1186028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 dirty="0">
                  <a:gradFill flip="none" rotWithShape="1">
                    <a:gsLst>
                      <a:gs pos="0">
                        <a:schemeClr val="dk1">
                          <a:tint val="66000"/>
                          <a:satMod val="160000"/>
                        </a:schemeClr>
                      </a:gs>
                      <a:gs pos="50000">
                        <a:schemeClr val="dk1">
                          <a:tint val="44500"/>
                          <a:satMod val="160000"/>
                        </a:schemeClr>
                      </a:gs>
                      <a:gs pos="100000">
                        <a:schemeClr val="dk1">
                          <a:tint val="23500"/>
                          <a:satMod val="160000"/>
                        </a:schemeClr>
                      </a:gs>
                    </a:gsLst>
                    <a:lin ang="2700000" scaled="1"/>
                    <a:tileRect/>
                  </a:gradFill>
                  <a:latin typeface="Century Gothic"/>
                  <a:ea typeface="Century Gothic"/>
                  <a:cs typeface="Century Gothic"/>
                  <a:sym typeface="Century Gothic"/>
                </a:rPr>
                <a:t>Mise en place de la nouvelle compagnie nationale</a:t>
              </a:r>
            </a:p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 dirty="0">
                  <a:gradFill flip="none" rotWithShape="1">
                    <a:gsLst>
                      <a:gs pos="0">
                        <a:schemeClr val="dk1">
                          <a:tint val="66000"/>
                          <a:satMod val="160000"/>
                        </a:schemeClr>
                      </a:gs>
                      <a:gs pos="50000">
                        <a:schemeClr val="dk1">
                          <a:tint val="44500"/>
                          <a:satMod val="160000"/>
                        </a:schemeClr>
                      </a:gs>
                      <a:gs pos="100000">
                        <a:schemeClr val="dk1">
                          <a:tint val="23500"/>
                          <a:satMod val="160000"/>
                        </a:schemeClr>
                      </a:gs>
                    </a:gsLst>
                    <a:lin ang="2700000" scaled="1"/>
                    <a:tileRect/>
                  </a:gradFill>
                  <a:latin typeface="Century Gothic"/>
                  <a:ea typeface="Century Gothic"/>
                  <a:cs typeface="Century Gothic"/>
                  <a:sym typeface="Century Gothic"/>
                </a:rPr>
                <a:t>Air </a:t>
              </a:r>
              <a:r>
                <a:rPr lang="fr-CA" sz="1600" b="1" dirty="0" err="1">
                  <a:gradFill flip="none" rotWithShape="1">
                    <a:gsLst>
                      <a:gs pos="0">
                        <a:schemeClr val="dk1">
                          <a:tint val="66000"/>
                          <a:satMod val="160000"/>
                        </a:schemeClr>
                      </a:gs>
                      <a:gs pos="50000">
                        <a:schemeClr val="dk1">
                          <a:tint val="44500"/>
                          <a:satMod val="160000"/>
                        </a:schemeClr>
                      </a:gs>
                      <a:gs pos="100000">
                        <a:schemeClr val="dk1">
                          <a:tint val="23500"/>
                          <a:satMod val="160000"/>
                        </a:schemeClr>
                      </a:gs>
                    </a:gsLst>
                    <a:lin ang="2700000" scaled="1"/>
                    <a:tileRect/>
                  </a:gradFill>
                  <a:latin typeface="Century Gothic"/>
                  <a:ea typeface="Century Gothic"/>
                  <a:cs typeface="Century Gothic"/>
                  <a:sym typeface="Century Gothic"/>
                </a:rPr>
                <a:t>Senegal</a:t>
              </a:r>
              <a:r>
                <a:rPr lang="fr-CA" sz="1600" b="1" dirty="0">
                  <a:gradFill flip="none" rotWithShape="1">
                    <a:gsLst>
                      <a:gs pos="0">
                        <a:schemeClr val="dk1">
                          <a:tint val="66000"/>
                          <a:satMod val="160000"/>
                        </a:schemeClr>
                      </a:gs>
                      <a:gs pos="50000">
                        <a:schemeClr val="dk1">
                          <a:tint val="44500"/>
                          <a:satMod val="160000"/>
                        </a:schemeClr>
                      </a:gs>
                      <a:gs pos="100000">
                        <a:schemeClr val="dk1">
                          <a:tint val="23500"/>
                          <a:satMod val="160000"/>
                        </a:schemeClr>
                      </a:gs>
                    </a:gsLst>
                    <a:lin ang="2700000" scaled="1"/>
                    <a:tileRect/>
                  </a:gradFill>
                  <a:latin typeface="Century Gothic"/>
                  <a:ea typeface="Century Gothic"/>
                  <a:cs typeface="Century Gothic"/>
                  <a:sym typeface="Century Gothic"/>
                </a:rPr>
                <a:t> SA</a:t>
              </a:r>
            </a:p>
          </p:txBody>
        </p:sp>
      </p:grpSp>
      <p:sp>
        <p:nvSpPr>
          <p:cNvPr id="275" name="Shape 275"/>
          <p:cNvSpPr txBox="1">
            <a:spLocks noGrp="1"/>
          </p:cNvSpPr>
          <p:nvPr>
            <p:ph type="title"/>
          </p:nvPr>
        </p:nvSpPr>
        <p:spPr>
          <a:xfrm>
            <a:off x="976625" y="114601"/>
            <a:ext cx="9696450" cy="103867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0000FF"/>
              </a:buClr>
              <a:buSzPct val="25000"/>
              <a:buFont typeface="Verdana"/>
              <a:buNone/>
            </a:pPr>
            <a:r>
              <a:rPr lang="fr-CA" sz="3240" b="1" i="0" u="none" strike="noStrike" cap="none">
                <a:solidFill>
                  <a:srgbClr val="0000FF"/>
                </a:solidFill>
                <a:latin typeface="Verdana"/>
                <a:ea typeface="Verdana"/>
                <a:cs typeface="Verdana"/>
                <a:sym typeface="Verdana"/>
              </a:rPr>
              <a:t>     </a:t>
            </a:r>
            <a:r>
              <a:rPr lang="fr-CA" sz="279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Projet de relance du Hub Aérien Régional</a:t>
            </a:r>
          </a:p>
        </p:txBody>
      </p:sp>
      <p:sp>
        <p:nvSpPr>
          <p:cNvPr id="277" name="Shape 277"/>
          <p:cNvSpPr/>
          <p:nvPr/>
        </p:nvSpPr>
        <p:spPr>
          <a:xfrm>
            <a:off x="7713132" y="2924644"/>
            <a:ext cx="4106332" cy="1371599"/>
          </a:xfrm>
          <a:prstGeom prst="roundRect">
            <a:avLst>
              <a:gd name="adj" fmla="val 16667"/>
            </a:avLst>
          </a:prstGeom>
          <a:solidFill>
            <a:srgbClr val="A1B400"/>
          </a:solidFill>
          <a:ln w="3175" cap="rnd" cmpd="sng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fr-CA" sz="1800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articipation au désenclavement et au développement du tourisme dans les régions du Sénégal</a:t>
            </a:r>
          </a:p>
        </p:txBody>
      </p:sp>
      <p:pic>
        <p:nvPicPr>
          <p:cNvPr id="279" name="Shape 279"/>
          <p:cNvPicPr preferRelativeResize="0"/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3973730" y="3245160"/>
            <a:ext cx="1089024" cy="1232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280" name="Shape 280"/>
          <p:cNvPicPr preferRelativeResize="0"/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409778" y="114601"/>
            <a:ext cx="1133693" cy="5711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4820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63058" y="1816504"/>
            <a:ext cx="10733087" cy="2262781"/>
          </a:xfrm>
        </p:spPr>
        <p:txBody>
          <a:bodyPr>
            <a:normAutofit fontScale="90000"/>
          </a:bodyPr>
          <a:lstStyle/>
          <a:p>
            <a:pPr algn="ctr"/>
            <a:r>
              <a:rPr lang="fr-CA" b="1" dirty="0" smtClean="0"/>
              <a:t>Programme de réhabilitation des aérodromes régionaux du Sénégal	</a:t>
            </a:r>
            <a:endParaRPr lang="fr-CA" b="1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80279" y="412844"/>
            <a:ext cx="8915399" cy="1126283"/>
          </a:xfrm>
        </p:spPr>
        <p:txBody>
          <a:bodyPr>
            <a:normAutofit/>
          </a:bodyPr>
          <a:lstStyle/>
          <a:p>
            <a:r>
              <a:rPr lang="fr-CA" sz="2800" dirty="0" smtClean="0">
                <a:solidFill>
                  <a:srgbClr val="002060"/>
                </a:solidFill>
              </a:rPr>
              <a:t>Ministère du Tourisme et des Transports Aériens</a:t>
            </a:r>
            <a:endParaRPr lang="fr-CA" sz="2800" dirty="0">
              <a:solidFill>
                <a:srgbClr val="002060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667" y="135468"/>
            <a:ext cx="2277533" cy="1681036"/>
          </a:xfrm>
          <a:prstGeom prst="rect">
            <a:avLst/>
          </a:prstGeom>
        </p:spPr>
      </p:pic>
      <p:sp>
        <p:nvSpPr>
          <p:cNvPr id="5" name="Shape 737"/>
          <p:cNvSpPr txBox="1"/>
          <p:nvPr/>
        </p:nvSpPr>
        <p:spPr>
          <a:xfrm>
            <a:off x="2020787" y="4079285"/>
            <a:ext cx="5517191" cy="250973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lvl="1" algn="ctr">
              <a:buClr>
                <a:schemeClr val="dk1"/>
              </a:buClr>
              <a:buSzPct val="25000"/>
            </a:pPr>
            <a:endParaRPr lang="fr-CA" sz="1800" b="1" dirty="0">
              <a:solidFill>
                <a:srgbClr val="262626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lvl="1" algn="ctr">
              <a:buClr>
                <a:schemeClr val="dk1"/>
              </a:buClr>
              <a:buSzPct val="25000"/>
            </a:pPr>
            <a:endParaRPr lang="fr-CA" b="1" dirty="0" smtClean="0">
              <a:solidFill>
                <a:srgbClr val="262626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lvl="1">
              <a:buClr>
                <a:schemeClr val="dk1"/>
              </a:buClr>
              <a:buSzPct val="25000"/>
            </a:pPr>
            <a:r>
              <a:rPr lang="fr-CA" sz="2800" b="1" dirty="0" smtClean="0">
                <a:solidFill>
                  <a:srgbClr val="00206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ésenté par : </a:t>
            </a:r>
          </a:p>
          <a:p>
            <a:pPr marL="0" lvl="1" algn="ctr">
              <a:buClr>
                <a:schemeClr val="dk1"/>
              </a:buClr>
              <a:buSzPct val="25000"/>
            </a:pPr>
            <a:r>
              <a:rPr lang="fr-CA" sz="2800" b="1" dirty="0" smtClean="0">
                <a:latin typeface="Century Gothic"/>
                <a:ea typeface="Century Gothic"/>
                <a:cs typeface="Century Gothic"/>
                <a:sym typeface="Century Gothic"/>
              </a:rPr>
              <a:t>Monsieur Mathiaco BESSANE</a:t>
            </a:r>
          </a:p>
          <a:p>
            <a:pPr marL="0" lvl="1" algn="ctr">
              <a:buClr>
                <a:schemeClr val="dk1"/>
              </a:buClr>
              <a:buSzPct val="25000"/>
            </a:pPr>
            <a:r>
              <a:rPr lang="fr-CA" sz="2800" b="1" dirty="0" smtClean="0">
                <a:latin typeface="Century Gothic"/>
                <a:ea typeface="Century Gothic"/>
                <a:cs typeface="Century Gothic"/>
                <a:sym typeface="Century Gothic"/>
              </a:rPr>
              <a:t>Directeur des Transports Aériens</a:t>
            </a:r>
            <a:endParaRPr sz="2800" dirty="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41882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ZoneTexte 74"/>
          <p:cNvSpPr txBox="1"/>
          <p:nvPr/>
        </p:nvSpPr>
        <p:spPr>
          <a:xfrm>
            <a:off x="7205954" y="1620366"/>
            <a:ext cx="498604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Bef>
                <a:spcPts val="1000"/>
              </a:spcBef>
              <a:buClr>
                <a:schemeClr val="accent1"/>
              </a:buClr>
              <a:buSzPct val="100000"/>
            </a:pP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>
              <a:buClr>
                <a:schemeClr val="accent1">
                  <a:lumMod val="50000"/>
                </a:schemeClr>
              </a:buClr>
            </a:pPr>
            <a:r>
              <a:rPr lang="fr-CA" b="1" dirty="0" smtClean="0">
                <a:latin typeface="Century Gothic" panose="020B0502020202020204" pitchFamily="34" charset="0"/>
              </a:rPr>
              <a:t>14 aérodromes ouverts à la Circulation Publique + l’Aéroport International Blaise Diagne </a:t>
            </a:r>
          </a:p>
          <a:p>
            <a:pPr>
              <a:buClr>
                <a:srgbClr val="FF0000"/>
              </a:buClr>
            </a:pPr>
            <a:endParaRPr lang="fr-CA" dirty="0" smtClean="0">
              <a:latin typeface="Century Gothic" panose="020B0502020202020204" pitchFamily="34" charset="0"/>
            </a:endParaRPr>
          </a:p>
          <a:p>
            <a:pPr>
              <a:buClr>
                <a:srgbClr val="FF0000"/>
              </a:buClr>
            </a:pPr>
            <a:endParaRPr lang="fr-CA" dirty="0">
              <a:latin typeface="Century Gothic" panose="020B0502020202020204" pitchFamily="34" charset="0"/>
            </a:endParaRPr>
          </a:p>
          <a:p>
            <a:pPr>
              <a:buClr>
                <a:srgbClr val="FF0000"/>
              </a:buClr>
            </a:pPr>
            <a:endParaRPr lang="fr-CA" dirty="0">
              <a:latin typeface="Century Gothic" panose="020B0502020202020204" pitchFamily="34" charset="0"/>
            </a:endParaRPr>
          </a:p>
          <a:p>
            <a:pPr marL="285750" indent="-285750"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CA" b="1" u="sng" dirty="0" smtClean="0">
                <a:latin typeface="Century Gothic" panose="020B0502020202020204" pitchFamily="34" charset="0"/>
              </a:rPr>
              <a:t>Phase I : </a:t>
            </a:r>
            <a:r>
              <a:rPr lang="fr-CA" dirty="0" smtClean="0">
                <a:latin typeface="Century Gothic" panose="020B0502020202020204" pitchFamily="34" charset="0"/>
              </a:rPr>
              <a:t>Réhabilitations sur financement externe</a:t>
            </a:r>
          </a:p>
          <a:p>
            <a:pPr marL="285750" indent="-285750"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CA" b="1" u="sng" dirty="0" smtClean="0">
                <a:latin typeface="Century Gothic" panose="020B0502020202020204" pitchFamily="34" charset="0"/>
              </a:rPr>
              <a:t>Phase II : </a:t>
            </a:r>
            <a:r>
              <a:rPr lang="fr-CA" dirty="0" smtClean="0">
                <a:latin typeface="Century Gothic" panose="020B0502020202020204" pitchFamily="34" charset="0"/>
              </a:rPr>
              <a:t>Réhabilitations du financement interne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fr-CA" dirty="0"/>
          </a:p>
        </p:txBody>
      </p:sp>
      <p:sp>
        <p:nvSpPr>
          <p:cNvPr id="76" name="ZoneTexte 75"/>
          <p:cNvSpPr txBox="1"/>
          <p:nvPr/>
        </p:nvSpPr>
        <p:spPr>
          <a:xfrm>
            <a:off x="634133" y="237847"/>
            <a:ext cx="97168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2800" b="1" dirty="0" smtClean="0">
                <a:latin typeface="Century Gothic" panose="020B0502020202020204" pitchFamily="34" charset="0"/>
              </a:rPr>
              <a:t>LES AÉROPORTS DU SÉNÉGAL</a:t>
            </a:r>
            <a:endParaRPr lang="fr-CA" sz="2800" b="1" dirty="0">
              <a:latin typeface="Century Gothic" panose="020B0502020202020204" pitchFamily="34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124194" y="1080994"/>
            <a:ext cx="7179481" cy="5357063"/>
            <a:chOff x="151626" y="1088797"/>
            <a:chExt cx="7179481" cy="5357063"/>
          </a:xfrm>
        </p:grpSpPr>
        <p:grpSp>
          <p:nvGrpSpPr>
            <p:cNvPr id="3" name="Groupe 2"/>
            <p:cNvGrpSpPr/>
            <p:nvPr/>
          </p:nvGrpSpPr>
          <p:grpSpPr>
            <a:xfrm>
              <a:off x="151626" y="1211849"/>
              <a:ext cx="7179481" cy="5127995"/>
              <a:chOff x="151626" y="1211849"/>
              <a:chExt cx="7179481" cy="5127995"/>
            </a:xfrm>
          </p:grpSpPr>
          <p:grpSp>
            <p:nvGrpSpPr>
              <p:cNvPr id="70" name="Groupe 69"/>
              <p:cNvGrpSpPr/>
              <p:nvPr/>
            </p:nvGrpSpPr>
            <p:grpSpPr>
              <a:xfrm>
                <a:off x="661565" y="1211849"/>
                <a:ext cx="6669542" cy="5127995"/>
                <a:chOff x="828782" y="1032186"/>
                <a:chExt cx="6669542" cy="5127995"/>
              </a:xfrm>
            </p:grpSpPr>
            <p:grpSp>
              <p:nvGrpSpPr>
                <p:cNvPr id="62" name="Groupe 61"/>
                <p:cNvGrpSpPr/>
                <p:nvPr/>
              </p:nvGrpSpPr>
              <p:grpSpPr>
                <a:xfrm>
                  <a:off x="828782" y="1032186"/>
                  <a:ext cx="6465604" cy="5127995"/>
                  <a:chOff x="849596" y="1025155"/>
                  <a:chExt cx="5866524" cy="4406063"/>
                </a:xfrm>
              </p:grpSpPr>
              <p:grpSp>
                <p:nvGrpSpPr>
                  <p:cNvPr id="5" name="Group 26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 bwMode="gray">
                  <a:xfrm>
                    <a:off x="849596" y="1025155"/>
                    <a:ext cx="5866524" cy="4406063"/>
                    <a:chOff x="1537340" y="1223262"/>
                    <a:chExt cx="5973635" cy="4486513"/>
                  </a:xfrm>
                  <a:solidFill>
                    <a:schemeClr val="bg1">
                      <a:lumMod val="5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6" name="Freeform 27"/>
                    <p:cNvSpPr>
                      <a:spLocks/>
                    </p:cNvSpPr>
                    <p:nvPr>
                      <p:custDataLst>
                        <p:tags r:id="rId2"/>
                      </p:custDataLst>
                    </p:nvPr>
                  </p:nvSpPr>
                  <p:spPr bwMode="gray">
                    <a:xfrm>
                      <a:off x="2614939" y="1223262"/>
                      <a:ext cx="2692139" cy="952182"/>
                    </a:xfrm>
                    <a:custGeom>
                      <a:avLst/>
                      <a:gdLst>
                        <a:gd name="T0" fmla="*/ 160 w 1960"/>
                        <a:gd name="T1" fmla="*/ 620 h 720"/>
                        <a:gd name="T2" fmla="*/ 288 w 1960"/>
                        <a:gd name="T3" fmla="*/ 536 h 720"/>
                        <a:gd name="T4" fmla="*/ 408 w 1960"/>
                        <a:gd name="T5" fmla="*/ 408 h 720"/>
                        <a:gd name="T6" fmla="*/ 568 w 1960"/>
                        <a:gd name="T7" fmla="*/ 368 h 720"/>
                        <a:gd name="T8" fmla="*/ 688 w 1960"/>
                        <a:gd name="T9" fmla="*/ 468 h 720"/>
                        <a:gd name="T10" fmla="*/ 912 w 1960"/>
                        <a:gd name="T11" fmla="*/ 456 h 720"/>
                        <a:gd name="T12" fmla="*/ 1228 w 1960"/>
                        <a:gd name="T13" fmla="*/ 480 h 720"/>
                        <a:gd name="T14" fmla="*/ 1412 w 1960"/>
                        <a:gd name="T15" fmla="*/ 504 h 720"/>
                        <a:gd name="T16" fmla="*/ 1480 w 1960"/>
                        <a:gd name="T17" fmla="*/ 720 h 720"/>
                        <a:gd name="T18" fmla="*/ 1960 w 1960"/>
                        <a:gd name="T19" fmla="*/ 368 h 720"/>
                        <a:gd name="T20" fmla="*/ 1880 w 1960"/>
                        <a:gd name="T21" fmla="*/ 312 h 720"/>
                        <a:gd name="T22" fmla="*/ 1836 w 1960"/>
                        <a:gd name="T23" fmla="*/ 248 h 720"/>
                        <a:gd name="T24" fmla="*/ 1716 w 1960"/>
                        <a:gd name="T25" fmla="*/ 148 h 720"/>
                        <a:gd name="T26" fmla="*/ 1668 w 1960"/>
                        <a:gd name="T27" fmla="*/ 96 h 720"/>
                        <a:gd name="T28" fmla="*/ 1616 w 1960"/>
                        <a:gd name="T29" fmla="*/ 80 h 720"/>
                        <a:gd name="T30" fmla="*/ 1500 w 1960"/>
                        <a:gd name="T31" fmla="*/ 52 h 720"/>
                        <a:gd name="T32" fmla="*/ 1344 w 1960"/>
                        <a:gd name="T33" fmla="*/ 48 h 720"/>
                        <a:gd name="T34" fmla="*/ 1168 w 1960"/>
                        <a:gd name="T35" fmla="*/ 8 h 720"/>
                        <a:gd name="T36" fmla="*/ 1112 w 1960"/>
                        <a:gd name="T37" fmla="*/ 32 h 720"/>
                        <a:gd name="T38" fmla="*/ 1044 w 1960"/>
                        <a:gd name="T39" fmla="*/ 68 h 720"/>
                        <a:gd name="T40" fmla="*/ 948 w 1960"/>
                        <a:gd name="T41" fmla="*/ 60 h 720"/>
                        <a:gd name="T42" fmla="*/ 840 w 1960"/>
                        <a:gd name="T43" fmla="*/ 108 h 720"/>
                        <a:gd name="T44" fmla="*/ 756 w 1960"/>
                        <a:gd name="T45" fmla="*/ 80 h 720"/>
                        <a:gd name="T46" fmla="*/ 648 w 1960"/>
                        <a:gd name="T47" fmla="*/ 140 h 720"/>
                        <a:gd name="T48" fmla="*/ 536 w 1960"/>
                        <a:gd name="T49" fmla="*/ 108 h 720"/>
                        <a:gd name="T50" fmla="*/ 460 w 1960"/>
                        <a:gd name="T51" fmla="*/ 104 h 720"/>
                        <a:gd name="T52" fmla="*/ 404 w 1960"/>
                        <a:gd name="T53" fmla="*/ 96 h 720"/>
                        <a:gd name="T54" fmla="*/ 332 w 1960"/>
                        <a:gd name="T55" fmla="*/ 72 h 720"/>
                        <a:gd name="T56" fmla="*/ 256 w 1960"/>
                        <a:gd name="T57" fmla="*/ 96 h 720"/>
                        <a:gd name="T58" fmla="*/ 200 w 1960"/>
                        <a:gd name="T59" fmla="*/ 196 h 720"/>
                        <a:gd name="T60" fmla="*/ 120 w 1960"/>
                        <a:gd name="T61" fmla="*/ 260 h 720"/>
                        <a:gd name="T62" fmla="*/ 116 w 1960"/>
                        <a:gd name="T63" fmla="*/ 344 h 720"/>
                        <a:gd name="T64" fmla="*/ 56 w 1960"/>
                        <a:gd name="T65" fmla="*/ 392 h 720"/>
                        <a:gd name="T66" fmla="*/ 0 w 1960"/>
                        <a:gd name="T67" fmla="*/ 444 h 720"/>
                        <a:gd name="T68" fmla="*/ 32 w 1960"/>
                        <a:gd name="T69" fmla="*/ 480 h 720"/>
                        <a:gd name="T70" fmla="*/ 52 w 1960"/>
                        <a:gd name="T71" fmla="*/ 508 h 720"/>
                        <a:gd name="T72" fmla="*/ 40 w 1960"/>
                        <a:gd name="T73" fmla="*/ 564 h 7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1960" h="720">
                          <a:moveTo>
                            <a:pt x="28" y="612"/>
                          </a:moveTo>
                          <a:lnTo>
                            <a:pt x="160" y="620"/>
                          </a:lnTo>
                          <a:lnTo>
                            <a:pt x="228" y="616"/>
                          </a:lnTo>
                          <a:lnTo>
                            <a:pt x="288" y="536"/>
                          </a:lnTo>
                          <a:lnTo>
                            <a:pt x="352" y="488"/>
                          </a:lnTo>
                          <a:lnTo>
                            <a:pt x="408" y="408"/>
                          </a:lnTo>
                          <a:lnTo>
                            <a:pt x="492" y="372"/>
                          </a:lnTo>
                          <a:lnTo>
                            <a:pt x="568" y="368"/>
                          </a:lnTo>
                          <a:lnTo>
                            <a:pt x="600" y="348"/>
                          </a:lnTo>
                          <a:lnTo>
                            <a:pt x="688" y="468"/>
                          </a:lnTo>
                          <a:lnTo>
                            <a:pt x="712" y="484"/>
                          </a:lnTo>
                          <a:lnTo>
                            <a:pt x="912" y="456"/>
                          </a:lnTo>
                          <a:lnTo>
                            <a:pt x="1116" y="460"/>
                          </a:lnTo>
                          <a:lnTo>
                            <a:pt x="1228" y="480"/>
                          </a:lnTo>
                          <a:lnTo>
                            <a:pt x="1284" y="524"/>
                          </a:lnTo>
                          <a:lnTo>
                            <a:pt x="1412" y="504"/>
                          </a:lnTo>
                          <a:lnTo>
                            <a:pt x="1452" y="556"/>
                          </a:lnTo>
                          <a:lnTo>
                            <a:pt x="1480" y="720"/>
                          </a:lnTo>
                          <a:lnTo>
                            <a:pt x="1780" y="488"/>
                          </a:lnTo>
                          <a:lnTo>
                            <a:pt x="1960" y="368"/>
                          </a:lnTo>
                          <a:lnTo>
                            <a:pt x="1924" y="300"/>
                          </a:lnTo>
                          <a:lnTo>
                            <a:pt x="1880" y="312"/>
                          </a:lnTo>
                          <a:lnTo>
                            <a:pt x="1832" y="292"/>
                          </a:lnTo>
                          <a:lnTo>
                            <a:pt x="1836" y="248"/>
                          </a:lnTo>
                          <a:lnTo>
                            <a:pt x="1796" y="208"/>
                          </a:lnTo>
                          <a:lnTo>
                            <a:pt x="1716" y="148"/>
                          </a:lnTo>
                          <a:lnTo>
                            <a:pt x="1692" y="132"/>
                          </a:lnTo>
                          <a:lnTo>
                            <a:pt x="1668" y="96"/>
                          </a:lnTo>
                          <a:lnTo>
                            <a:pt x="1644" y="120"/>
                          </a:lnTo>
                          <a:lnTo>
                            <a:pt x="1616" y="80"/>
                          </a:lnTo>
                          <a:lnTo>
                            <a:pt x="1576" y="76"/>
                          </a:lnTo>
                          <a:lnTo>
                            <a:pt x="1500" y="52"/>
                          </a:lnTo>
                          <a:lnTo>
                            <a:pt x="1456" y="64"/>
                          </a:lnTo>
                          <a:lnTo>
                            <a:pt x="1344" y="48"/>
                          </a:lnTo>
                          <a:lnTo>
                            <a:pt x="1216" y="24"/>
                          </a:lnTo>
                          <a:lnTo>
                            <a:pt x="1168" y="8"/>
                          </a:lnTo>
                          <a:lnTo>
                            <a:pt x="1132" y="0"/>
                          </a:lnTo>
                          <a:lnTo>
                            <a:pt x="1112" y="32"/>
                          </a:lnTo>
                          <a:lnTo>
                            <a:pt x="1044" y="36"/>
                          </a:lnTo>
                          <a:lnTo>
                            <a:pt x="1044" y="68"/>
                          </a:lnTo>
                          <a:lnTo>
                            <a:pt x="1012" y="60"/>
                          </a:lnTo>
                          <a:lnTo>
                            <a:pt x="948" y="60"/>
                          </a:lnTo>
                          <a:lnTo>
                            <a:pt x="912" y="68"/>
                          </a:lnTo>
                          <a:lnTo>
                            <a:pt x="840" y="108"/>
                          </a:lnTo>
                          <a:lnTo>
                            <a:pt x="792" y="80"/>
                          </a:lnTo>
                          <a:lnTo>
                            <a:pt x="756" y="80"/>
                          </a:lnTo>
                          <a:lnTo>
                            <a:pt x="692" y="108"/>
                          </a:lnTo>
                          <a:lnTo>
                            <a:pt x="648" y="140"/>
                          </a:lnTo>
                          <a:lnTo>
                            <a:pt x="580" y="120"/>
                          </a:lnTo>
                          <a:lnTo>
                            <a:pt x="536" y="108"/>
                          </a:lnTo>
                          <a:lnTo>
                            <a:pt x="504" y="108"/>
                          </a:lnTo>
                          <a:lnTo>
                            <a:pt x="460" y="104"/>
                          </a:lnTo>
                          <a:lnTo>
                            <a:pt x="420" y="116"/>
                          </a:lnTo>
                          <a:lnTo>
                            <a:pt x="404" y="96"/>
                          </a:lnTo>
                          <a:lnTo>
                            <a:pt x="392" y="60"/>
                          </a:lnTo>
                          <a:lnTo>
                            <a:pt x="332" y="72"/>
                          </a:lnTo>
                          <a:lnTo>
                            <a:pt x="300" y="80"/>
                          </a:lnTo>
                          <a:lnTo>
                            <a:pt x="256" y="96"/>
                          </a:lnTo>
                          <a:lnTo>
                            <a:pt x="256" y="132"/>
                          </a:lnTo>
                          <a:lnTo>
                            <a:pt x="200" y="196"/>
                          </a:lnTo>
                          <a:lnTo>
                            <a:pt x="168" y="232"/>
                          </a:lnTo>
                          <a:lnTo>
                            <a:pt x="120" y="260"/>
                          </a:lnTo>
                          <a:lnTo>
                            <a:pt x="116" y="300"/>
                          </a:lnTo>
                          <a:lnTo>
                            <a:pt x="116" y="344"/>
                          </a:lnTo>
                          <a:lnTo>
                            <a:pt x="100" y="368"/>
                          </a:lnTo>
                          <a:lnTo>
                            <a:pt x="56" y="392"/>
                          </a:lnTo>
                          <a:lnTo>
                            <a:pt x="24" y="412"/>
                          </a:lnTo>
                          <a:lnTo>
                            <a:pt x="0" y="444"/>
                          </a:lnTo>
                          <a:lnTo>
                            <a:pt x="4" y="532"/>
                          </a:lnTo>
                          <a:lnTo>
                            <a:pt x="32" y="480"/>
                          </a:lnTo>
                          <a:lnTo>
                            <a:pt x="52" y="448"/>
                          </a:lnTo>
                          <a:lnTo>
                            <a:pt x="52" y="508"/>
                          </a:lnTo>
                          <a:lnTo>
                            <a:pt x="28" y="528"/>
                          </a:lnTo>
                          <a:lnTo>
                            <a:pt x="40" y="564"/>
                          </a:lnTo>
                          <a:lnTo>
                            <a:pt x="28" y="612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tIns="0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7" name="Freeform 28"/>
                    <p:cNvSpPr>
                      <a:spLocks/>
                    </p:cNvSpPr>
                    <p:nvPr>
                      <p:custDataLst>
                        <p:tags r:id="rId3"/>
                      </p:custDataLst>
                    </p:nvPr>
                  </p:nvSpPr>
                  <p:spPr bwMode="gray">
                    <a:xfrm>
                      <a:off x="2372451" y="1668290"/>
                      <a:ext cx="2477862" cy="1608126"/>
                    </a:xfrm>
                    <a:custGeom>
                      <a:avLst/>
                      <a:gdLst>
                        <a:gd name="T0" fmla="*/ 124 w 1804"/>
                        <a:gd name="T1" fmla="*/ 416 h 1216"/>
                        <a:gd name="T2" fmla="*/ 204 w 1804"/>
                        <a:gd name="T3" fmla="*/ 260 h 1216"/>
                        <a:gd name="T4" fmla="*/ 452 w 1804"/>
                        <a:gd name="T5" fmla="*/ 208 h 1216"/>
                        <a:gd name="T6" fmla="*/ 588 w 1804"/>
                        <a:gd name="T7" fmla="*/ 76 h 1216"/>
                        <a:gd name="T8" fmla="*/ 724 w 1804"/>
                        <a:gd name="T9" fmla="*/ 24 h 1216"/>
                        <a:gd name="T10" fmla="*/ 868 w 1804"/>
                        <a:gd name="T11" fmla="*/ 116 h 1216"/>
                        <a:gd name="T12" fmla="*/ 1164 w 1804"/>
                        <a:gd name="T13" fmla="*/ 100 h 1216"/>
                        <a:gd name="T14" fmla="*/ 1464 w 1804"/>
                        <a:gd name="T15" fmla="*/ 176 h 1216"/>
                        <a:gd name="T16" fmla="*/ 1628 w 1804"/>
                        <a:gd name="T17" fmla="*/ 192 h 1216"/>
                        <a:gd name="T18" fmla="*/ 1672 w 1804"/>
                        <a:gd name="T19" fmla="*/ 488 h 1216"/>
                        <a:gd name="T20" fmla="*/ 1592 w 1804"/>
                        <a:gd name="T21" fmla="*/ 568 h 1216"/>
                        <a:gd name="T22" fmla="*/ 1536 w 1804"/>
                        <a:gd name="T23" fmla="*/ 800 h 1216"/>
                        <a:gd name="T24" fmla="*/ 1624 w 1804"/>
                        <a:gd name="T25" fmla="*/ 852 h 1216"/>
                        <a:gd name="T26" fmla="*/ 1776 w 1804"/>
                        <a:gd name="T27" fmla="*/ 952 h 1216"/>
                        <a:gd name="T28" fmla="*/ 1728 w 1804"/>
                        <a:gd name="T29" fmla="*/ 1068 h 1216"/>
                        <a:gd name="T30" fmla="*/ 1612 w 1804"/>
                        <a:gd name="T31" fmla="*/ 1200 h 1216"/>
                        <a:gd name="T32" fmla="*/ 1532 w 1804"/>
                        <a:gd name="T33" fmla="*/ 1188 h 1216"/>
                        <a:gd name="T34" fmla="*/ 1388 w 1804"/>
                        <a:gd name="T35" fmla="*/ 1160 h 1216"/>
                        <a:gd name="T36" fmla="*/ 1268 w 1804"/>
                        <a:gd name="T37" fmla="*/ 1112 h 1216"/>
                        <a:gd name="T38" fmla="*/ 1212 w 1804"/>
                        <a:gd name="T39" fmla="*/ 1096 h 1216"/>
                        <a:gd name="T40" fmla="*/ 1096 w 1804"/>
                        <a:gd name="T41" fmla="*/ 1188 h 1216"/>
                        <a:gd name="T42" fmla="*/ 936 w 1804"/>
                        <a:gd name="T43" fmla="*/ 1080 h 1216"/>
                        <a:gd name="T44" fmla="*/ 924 w 1804"/>
                        <a:gd name="T45" fmla="*/ 996 h 1216"/>
                        <a:gd name="T46" fmla="*/ 864 w 1804"/>
                        <a:gd name="T47" fmla="*/ 1008 h 1216"/>
                        <a:gd name="T48" fmla="*/ 784 w 1804"/>
                        <a:gd name="T49" fmla="*/ 976 h 1216"/>
                        <a:gd name="T50" fmla="*/ 672 w 1804"/>
                        <a:gd name="T51" fmla="*/ 980 h 1216"/>
                        <a:gd name="T52" fmla="*/ 472 w 1804"/>
                        <a:gd name="T53" fmla="*/ 956 h 1216"/>
                        <a:gd name="T54" fmla="*/ 472 w 1804"/>
                        <a:gd name="T55" fmla="*/ 784 h 1216"/>
                        <a:gd name="T56" fmla="*/ 396 w 1804"/>
                        <a:gd name="T57" fmla="*/ 736 h 1216"/>
                        <a:gd name="T58" fmla="*/ 332 w 1804"/>
                        <a:gd name="T59" fmla="*/ 656 h 1216"/>
                        <a:gd name="T60" fmla="*/ 272 w 1804"/>
                        <a:gd name="T61" fmla="*/ 660 h 1216"/>
                        <a:gd name="T62" fmla="*/ 160 w 1804"/>
                        <a:gd name="T63" fmla="*/ 760 h 1216"/>
                        <a:gd name="T64" fmla="*/ 28 w 1804"/>
                        <a:gd name="T65" fmla="*/ 716 h 1216"/>
                        <a:gd name="T66" fmla="*/ 88 w 1804"/>
                        <a:gd name="T67" fmla="*/ 552 h 12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804" h="1216">
                          <a:moveTo>
                            <a:pt x="76" y="496"/>
                          </a:moveTo>
                          <a:lnTo>
                            <a:pt x="124" y="416"/>
                          </a:lnTo>
                          <a:lnTo>
                            <a:pt x="140" y="368"/>
                          </a:lnTo>
                          <a:lnTo>
                            <a:pt x="204" y="260"/>
                          </a:lnTo>
                          <a:lnTo>
                            <a:pt x="420" y="268"/>
                          </a:lnTo>
                          <a:lnTo>
                            <a:pt x="452" y="208"/>
                          </a:lnTo>
                          <a:lnTo>
                            <a:pt x="528" y="148"/>
                          </a:lnTo>
                          <a:lnTo>
                            <a:pt x="588" y="76"/>
                          </a:lnTo>
                          <a:lnTo>
                            <a:pt x="640" y="28"/>
                          </a:lnTo>
                          <a:lnTo>
                            <a:pt x="724" y="24"/>
                          </a:lnTo>
                          <a:lnTo>
                            <a:pt x="776" y="0"/>
                          </a:lnTo>
                          <a:lnTo>
                            <a:pt x="868" y="116"/>
                          </a:lnTo>
                          <a:lnTo>
                            <a:pt x="920" y="128"/>
                          </a:lnTo>
                          <a:lnTo>
                            <a:pt x="1164" y="100"/>
                          </a:lnTo>
                          <a:lnTo>
                            <a:pt x="1400" y="120"/>
                          </a:lnTo>
                          <a:lnTo>
                            <a:pt x="1464" y="176"/>
                          </a:lnTo>
                          <a:lnTo>
                            <a:pt x="1584" y="152"/>
                          </a:lnTo>
                          <a:lnTo>
                            <a:pt x="1628" y="192"/>
                          </a:lnTo>
                          <a:lnTo>
                            <a:pt x="1656" y="356"/>
                          </a:lnTo>
                          <a:lnTo>
                            <a:pt x="1672" y="488"/>
                          </a:lnTo>
                          <a:lnTo>
                            <a:pt x="1632" y="544"/>
                          </a:lnTo>
                          <a:lnTo>
                            <a:pt x="1592" y="568"/>
                          </a:lnTo>
                          <a:lnTo>
                            <a:pt x="1560" y="668"/>
                          </a:lnTo>
                          <a:lnTo>
                            <a:pt x="1536" y="800"/>
                          </a:lnTo>
                          <a:lnTo>
                            <a:pt x="1568" y="848"/>
                          </a:lnTo>
                          <a:lnTo>
                            <a:pt x="1624" y="852"/>
                          </a:lnTo>
                          <a:lnTo>
                            <a:pt x="1696" y="892"/>
                          </a:lnTo>
                          <a:lnTo>
                            <a:pt x="1776" y="952"/>
                          </a:lnTo>
                          <a:lnTo>
                            <a:pt x="1804" y="1004"/>
                          </a:lnTo>
                          <a:lnTo>
                            <a:pt x="1728" y="1068"/>
                          </a:lnTo>
                          <a:lnTo>
                            <a:pt x="1668" y="1140"/>
                          </a:lnTo>
                          <a:lnTo>
                            <a:pt x="1612" y="1200"/>
                          </a:lnTo>
                          <a:lnTo>
                            <a:pt x="1560" y="1216"/>
                          </a:lnTo>
                          <a:lnTo>
                            <a:pt x="1532" y="1188"/>
                          </a:lnTo>
                          <a:lnTo>
                            <a:pt x="1476" y="1172"/>
                          </a:lnTo>
                          <a:lnTo>
                            <a:pt x="1388" y="1160"/>
                          </a:lnTo>
                          <a:lnTo>
                            <a:pt x="1324" y="1160"/>
                          </a:lnTo>
                          <a:lnTo>
                            <a:pt x="1268" y="1112"/>
                          </a:lnTo>
                          <a:lnTo>
                            <a:pt x="1240" y="1084"/>
                          </a:lnTo>
                          <a:lnTo>
                            <a:pt x="1212" y="1096"/>
                          </a:lnTo>
                          <a:lnTo>
                            <a:pt x="1164" y="1140"/>
                          </a:lnTo>
                          <a:lnTo>
                            <a:pt x="1096" y="1188"/>
                          </a:lnTo>
                          <a:lnTo>
                            <a:pt x="1000" y="1140"/>
                          </a:lnTo>
                          <a:lnTo>
                            <a:pt x="936" y="1080"/>
                          </a:lnTo>
                          <a:lnTo>
                            <a:pt x="928" y="1032"/>
                          </a:lnTo>
                          <a:lnTo>
                            <a:pt x="924" y="996"/>
                          </a:lnTo>
                          <a:lnTo>
                            <a:pt x="888" y="1000"/>
                          </a:lnTo>
                          <a:lnTo>
                            <a:pt x="864" y="1008"/>
                          </a:lnTo>
                          <a:lnTo>
                            <a:pt x="832" y="976"/>
                          </a:lnTo>
                          <a:lnTo>
                            <a:pt x="784" y="976"/>
                          </a:lnTo>
                          <a:lnTo>
                            <a:pt x="752" y="996"/>
                          </a:lnTo>
                          <a:lnTo>
                            <a:pt x="672" y="980"/>
                          </a:lnTo>
                          <a:lnTo>
                            <a:pt x="556" y="964"/>
                          </a:lnTo>
                          <a:lnTo>
                            <a:pt x="472" y="956"/>
                          </a:lnTo>
                          <a:lnTo>
                            <a:pt x="468" y="892"/>
                          </a:lnTo>
                          <a:lnTo>
                            <a:pt x="472" y="784"/>
                          </a:lnTo>
                          <a:lnTo>
                            <a:pt x="444" y="768"/>
                          </a:lnTo>
                          <a:lnTo>
                            <a:pt x="396" y="736"/>
                          </a:lnTo>
                          <a:lnTo>
                            <a:pt x="356" y="708"/>
                          </a:lnTo>
                          <a:lnTo>
                            <a:pt x="332" y="656"/>
                          </a:lnTo>
                          <a:lnTo>
                            <a:pt x="316" y="616"/>
                          </a:lnTo>
                          <a:lnTo>
                            <a:pt x="272" y="660"/>
                          </a:lnTo>
                          <a:lnTo>
                            <a:pt x="220" y="696"/>
                          </a:lnTo>
                          <a:lnTo>
                            <a:pt x="160" y="760"/>
                          </a:lnTo>
                          <a:lnTo>
                            <a:pt x="128" y="776"/>
                          </a:lnTo>
                          <a:lnTo>
                            <a:pt x="28" y="716"/>
                          </a:lnTo>
                          <a:lnTo>
                            <a:pt x="0" y="692"/>
                          </a:lnTo>
                          <a:lnTo>
                            <a:pt x="88" y="552"/>
                          </a:lnTo>
                          <a:lnTo>
                            <a:pt x="76" y="496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8" name="Freeform 29"/>
                    <p:cNvSpPr>
                      <a:spLocks/>
                    </p:cNvSpPr>
                    <p:nvPr>
                      <p:custDataLst>
                        <p:tags r:id="rId4"/>
                      </p:custDataLst>
                    </p:nvPr>
                  </p:nvSpPr>
                  <p:spPr bwMode="gray">
                    <a:xfrm>
                      <a:off x="4467214" y="1662998"/>
                      <a:ext cx="1889990" cy="1936104"/>
                    </a:xfrm>
                    <a:custGeom>
                      <a:avLst/>
                      <a:gdLst>
                        <a:gd name="T0" fmla="*/ 120 w 1376"/>
                        <a:gd name="T1" fmla="*/ 368 h 1464"/>
                        <a:gd name="T2" fmla="*/ 608 w 1376"/>
                        <a:gd name="T3" fmla="*/ 24 h 1464"/>
                        <a:gd name="T4" fmla="*/ 640 w 1376"/>
                        <a:gd name="T5" fmla="*/ 24 h 1464"/>
                        <a:gd name="T6" fmla="*/ 676 w 1376"/>
                        <a:gd name="T7" fmla="*/ 0 h 1464"/>
                        <a:gd name="T8" fmla="*/ 732 w 1376"/>
                        <a:gd name="T9" fmla="*/ 20 h 1464"/>
                        <a:gd name="T10" fmla="*/ 780 w 1376"/>
                        <a:gd name="T11" fmla="*/ 8 h 1464"/>
                        <a:gd name="T12" fmla="*/ 840 w 1376"/>
                        <a:gd name="T13" fmla="*/ 40 h 1464"/>
                        <a:gd name="T14" fmla="*/ 844 w 1376"/>
                        <a:gd name="T15" fmla="*/ 76 h 1464"/>
                        <a:gd name="T16" fmla="*/ 904 w 1376"/>
                        <a:gd name="T17" fmla="*/ 96 h 1464"/>
                        <a:gd name="T18" fmla="*/ 948 w 1376"/>
                        <a:gd name="T19" fmla="*/ 156 h 1464"/>
                        <a:gd name="T20" fmla="*/ 952 w 1376"/>
                        <a:gd name="T21" fmla="*/ 224 h 1464"/>
                        <a:gd name="T22" fmla="*/ 972 w 1376"/>
                        <a:gd name="T23" fmla="*/ 280 h 1464"/>
                        <a:gd name="T24" fmla="*/ 980 w 1376"/>
                        <a:gd name="T25" fmla="*/ 336 h 1464"/>
                        <a:gd name="T26" fmla="*/ 996 w 1376"/>
                        <a:gd name="T27" fmla="*/ 380 h 1464"/>
                        <a:gd name="T28" fmla="*/ 1008 w 1376"/>
                        <a:gd name="T29" fmla="*/ 448 h 1464"/>
                        <a:gd name="T30" fmla="*/ 1040 w 1376"/>
                        <a:gd name="T31" fmla="*/ 476 h 1464"/>
                        <a:gd name="T32" fmla="*/ 1072 w 1376"/>
                        <a:gd name="T33" fmla="*/ 492 h 1464"/>
                        <a:gd name="T34" fmla="*/ 1080 w 1376"/>
                        <a:gd name="T35" fmla="*/ 536 h 1464"/>
                        <a:gd name="T36" fmla="*/ 1080 w 1376"/>
                        <a:gd name="T37" fmla="*/ 572 h 1464"/>
                        <a:gd name="T38" fmla="*/ 1196 w 1376"/>
                        <a:gd name="T39" fmla="*/ 560 h 1464"/>
                        <a:gd name="T40" fmla="*/ 1212 w 1376"/>
                        <a:gd name="T41" fmla="*/ 644 h 1464"/>
                        <a:gd name="T42" fmla="*/ 1192 w 1376"/>
                        <a:gd name="T43" fmla="*/ 684 h 1464"/>
                        <a:gd name="T44" fmla="*/ 1204 w 1376"/>
                        <a:gd name="T45" fmla="*/ 728 h 1464"/>
                        <a:gd name="T46" fmla="*/ 1244 w 1376"/>
                        <a:gd name="T47" fmla="*/ 764 h 1464"/>
                        <a:gd name="T48" fmla="*/ 1260 w 1376"/>
                        <a:gd name="T49" fmla="*/ 804 h 1464"/>
                        <a:gd name="T50" fmla="*/ 1292 w 1376"/>
                        <a:gd name="T51" fmla="*/ 844 h 1464"/>
                        <a:gd name="T52" fmla="*/ 1360 w 1376"/>
                        <a:gd name="T53" fmla="*/ 888 h 1464"/>
                        <a:gd name="T54" fmla="*/ 1344 w 1376"/>
                        <a:gd name="T55" fmla="*/ 924 h 1464"/>
                        <a:gd name="T56" fmla="*/ 1348 w 1376"/>
                        <a:gd name="T57" fmla="*/ 1020 h 1464"/>
                        <a:gd name="T58" fmla="*/ 1376 w 1376"/>
                        <a:gd name="T59" fmla="*/ 1076 h 1464"/>
                        <a:gd name="T60" fmla="*/ 1372 w 1376"/>
                        <a:gd name="T61" fmla="*/ 1120 h 1464"/>
                        <a:gd name="T62" fmla="*/ 1308 w 1376"/>
                        <a:gd name="T63" fmla="*/ 1216 h 1464"/>
                        <a:gd name="T64" fmla="*/ 1220 w 1376"/>
                        <a:gd name="T65" fmla="*/ 1288 h 1464"/>
                        <a:gd name="T66" fmla="*/ 1180 w 1376"/>
                        <a:gd name="T67" fmla="*/ 1284 h 1464"/>
                        <a:gd name="T68" fmla="*/ 1016 w 1376"/>
                        <a:gd name="T69" fmla="*/ 1260 h 1464"/>
                        <a:gd name="T70" fmla="*/ 980 w 1376"/>
                        <a:gd name="T71" fmla="*/ 1276 h 1464"/>
                        <a:gd name="T72" fmla="*/ 900 w 1376"/>
                        <a:gd name="T73" fmla="*/ 1404 h 1464"/>
                        <a:gd name="T74" fmla="*/ 868 w 1376"/>
                        <a:gd name="T75" fmla="*/ 1424 h 1464"/>
                        <a:gd name="T76" fmla="*/ 796 w 1376"/>
                        <a:gd name="T77" fmla="*/ 1464 h 1464"/>
                        <a:gd name="T78" fmla="*/ 644 w 1376"/>
                        <a:gd name="T79" fmla="*/ 1428 h 1464"/>
                        <a:gd name="T80" fmla="*/ 508 w 1376"/>
                        <a:gd name="T81" fmla="*/ 1360 h 1464"/>
                        <a:gd name="T82" fmla="*/ 412 w 1376"/>
                        <a:gd name="T83" fmla="*/ 1292 h 1464"/>
                        <a:gd name="T84" fmla="*/ 268 w 1376"/>
                        <a:gd name="T85" fmla="*/ 1192 h 1464"/>
                        <a:gd name="T86" fmla="*/ 192 w 1376"/>
                        <a:gd name="T87" fmla="*/ 1128 h 1464"/>
                        <a:gd name="T88" fmla="*/ 160 w 1376"/>
                        <a:gd name="T89" fmla="*/ 1112 h 1464"/>
                        <a:gd name="T90" fmla="*/ 276 w 1376"/>
                        <a:gd name="T91" fmla="*/ 1012 h 1464"/>
                        <a:gd name="T92" fmla="*/ 236 w 1376"/>
                        <a:gd name="T93" fmla="*/ 960 h 1464"/>
                        <a:gd name="T94" fmla="*/ 172 w 1376"/>
                        <a:gd name="T95" fmla="*/ 900 h 1464"/>
                        <a:gd name="T96" fmla="*/ 80 w 1376"/>
                        <a:gd name="T97" fmla="*/ 856 h 1464"/>
                        <a:gd name="T98" fmla="*/ 16 w 1376"/>
                        <a:gd name="T99" fmla="*/ 840 h 1464"/>
                        <a:gd name="T100" fmla="*/ 4 w 1376"/>
                        <a:gd name="T101" fmla="*/ 792 h 1464"/>
                        <a:gd name="T102" fmla="*/ 0 w 1376"/>
                        <a:gd name="T103" fmla="*/ 736 h 1464"/>
                        <a:gd name="T104" fmla="*/ 48 w 1376"/>
                        <a:gd name="T105" fmla="*/ 572 h 1464"/>
                        <a:gd name="T106" fmla="*/ 100 w 1376"/>
                        <a:gd name="T107" fmla="*/ 540 h 1464"/>
                        <a:gd name="T108" fmla="*/ 128 w 1376"/>
                        <a:gd name="T109" fmla="*/ 492 h 1464"/>
                        <a:gd name="T110" fmla="*/ 132 w 1376"/>
                        <a:gd name="T111" fmla="*/ 432 h 1464"/>
                        <a:gd name="T112" fmla="*/ 120 w 1376"/>
                        <a:gd name="T113" fmla="*/ 368 h 14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376" h="1464">
                          <a:moveTo>
                            <a:pt x="120" y="368"/>
                          </a:moveTo>
                          <a:lnTo>
                            <a:pt x="608" y="24"/>
                          </a:lnTo>
                          <a:lnTo>
                            <a:pt x="640" y="24"/>
                          </a:lnTo>
                          <a:lnTo>
                            <a:pt x="676" y="0"/>
                          </a:lnTo>
                          <a:lnTo>
                            <a:pt x="732" y="20"/>
                          </a:lnTo>
                          <a:lnTo>
                            <a:pt x="780" y="8"/>
                          </a:lnTo>
                          <a:lnTo>
                            <a:pt x="840" y="40"/>
                          </a:lnTo>
                          <a:lnTo>
                            <a:pt x="844" y="76"/>
                          </a:lnTo>
                          <a:lnTo>
                            <a:pt x="904" y="96"/>
                          </a:lnTo>
                          <a:lnTo>
                            <a:pt x="948" y="156"/>
                          </a:lnTo>
                          <a:lnTo>
                            <a:pt x="952" y="224"/>
                          </a:lnTo>
                          <a:lnTo>
                            <a:pt x="972" y="280"/>
                          </a:lnTo>
                          <a:lnTo>
                            <a:pt x="980" y="336"/>
                          </a:lnTo>
                          <a:lnTo>
                            <a:pt x="996" y="380"/>
                          </a:lnTo>
                          <a:lnTo>
                            <a:pt x="1008" y="448"/>
                          </a:lnTo>
                          <a:lnTo>
                            <a:pt x="1040" y="476"/>
                          </a:lnTo>
                          <a:lnTo>
                            <a:pt x="1072" y="492"/>
                          </a:lnTo>
                          <a:lnTo>
                            <a:pt x="1080" y="536"/>
                          </a:lnTo>
                          <a:lnTo>
                            <a:pt x="1080" y="572"/>
                          </a:lnTo>
                          <a:lnTo>
                            <a:pt x="1196" y="560"/>
                          </a:lnTo>
                          <a:lnTo>
                            <a:pt x="1212" y="644"/>
                          </a:lnTo>
                          <a:lnTo>
                            <a:pt x="1192" y="684"/>
                          </a:lnTo>
                          <a:lnTo>
                            <a:pt x="1204" y="728"/>
                          </a:lnTo>
                          <a:lnTo>
                            <a:pt x="1244" y="764"/>
                          </a:lnTo>
                          <a:lnTo>
                            <a:pt x="1260" y="804"/>
                          </a:lnTo>
                          <a:lnTo>
                            <a:pt x="1292" y="844"/>
                          </a:lnTo>
                          <a:lnTo>
                            <a:pt x="1360" y="888"/>
                          </a:lnTo>
                          <a:lnTo>
                            <a:pt x="1344" y="924"/>
                          </a:lnTo>
                          <a:lnTo>
                            <a:pt x="1348" y="1020"/>
                          </a:lnTo>
                          <a:lnTo>
                            <a:pt x="1376" y="1076"/>
                          </a:lnTo>
                          <a:lnTo>
                            <a:pt x="1372" y="1120"/>
                          </a:lnTo>
                          <a:lnTo>
                            <a:pt x="1308" y="1216"/>
                          </a:lnTo>
                          <a:lnTo>
                            <a:pt x="1220" y="1288"/>
                          </a:lnTo>
                          <a:lnTo>
                            <a:pt x="1180" y="1284"/>
                          </a:lnTo>
                          <a:lnTo>
                            <a:pt x="1016" y="1260"/>
                          </a:lnTo>
                          <a:lnTo>
                            <a:pt x="980" y="1276"/>
                          </a:lnTo>
                          <a:lnTo>
                            <a:pt x="900" y="1404"/>
                          </a:lnTo>
                          <a:lnTo>
                            <a:pt x="868" y="1424"/>
                          </a:lnTo>
                          <a:lnTo>
                            <a:pt x="796" y="1464"/>
                          </a:lnTo>
                          <a:lnTo>
                            <a:pt x="644" y="1428"/>
                          </a:lnTo>
                          <a:lnTo>
                            <a:pt x="508" y="1360"/>
                          </a:lnTo>
                          <a:lnTo>
                            <a:pt x="412" y="1292"/>
                          </a:lnTo>
                          <a:lnTo>
                            <a:pt x="268" y="1192"/>
                          </a:lnTo>
                          <a:lnTo>
                            <a:pt x="192" y="1128"/>
                          </a:lnTo>
                          <a:lnTo>
                            <a:pt x="160" y="1112"/>
                          </a:lnTo>
                          <a:lnTo>
                            <a:pt x="276" y="1012"/>
                          </a:lnTo>
                          <a:lnTo>
                            <a:pt x="236" y="960"/>
                          </a:lnTo>
                          <a:lnTo>
                            <a:pt x="172" y="900"/>
                          </a:lnTo>
                          <a:lnTo>
                            <a:pt x="80" y="856"/>
                          </a:lnTo>
                          <a:lnTo>
                            <a:pt x="16" y="840"/>
                          </a:lnTo>
                          <a:lnTo>
                            <a:pt x="4" y="792"/>
                          </a:lnTo>
                          <a:lnTo>
                            <a:pt x="0" y="736"/>
                          </a:lnTo>
                          <a:lnTo>
                            <a:pt x="48" y="572"/>
                          </a:lnTo>
                          <a:lnTo>
                            <a:pt x="100" y="540"/>
                          </a:lnTo>
                          <a:lnTo>
                            <a:pt x="128" y="492"/>
                          </a:lnTo>
                          <a:lnTo>
                            <a:pt x="132" y="432"/>
                          </a:lnTo>
                          <a:lnTo>
                            <a:pt x="120" y="368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" name="Freeform 30"/>
                    <p:cNvSpPr>
                      <a:spLocks/>
                    </p:cNvSpPr>
                    <p:nvPr>
                      <p:custDataLst>
                        <p:tags r:id="rId5"/>
                      </p:custDataLst>
                    </p:nvPr>
                  </p:nvSpPr>
                  <p:spPr bwMode="gray">
                    <a:xfrm>
                      <a:off x="4004363" y="2832491"/>
                      <a:ext cx="3133010" cy="2602205"/>
                    </a:xfrm>
                    <a:custGeom>
                      <a:avLst/>
                      <a:gdLst>
                        <a:gd name="T0" fmla="*/ 1732 w 2280"/>
                        <a:gd name="T1" fmla="*/ 0 h 1960"/>
                        <a:gd name="T2" fmla="*/ 1876 w 2280"/>
                        <a:gd name="T3" fmla="*/ 112 h 1960"/>
                        <a:gd name="T4" fmla="*/ 1960 w 2280"/>
                        <a:gd name="T5" fmla="*/ 208 h 1960"/>
                        <a:gd name="T6" fmla="*/ 2064 w 2280"/>
                        <a:gd name="T7" fmla="*/ 304 h 1960"/>
                        <a:gd name="T8" fmla="*/ 2044 w 2280"/>
                        <a:gd name="T9" fmla="*/ 424 h 1960"/>
                        <a:gd name="T10" fmla="*/ 2064 w 2280"/>
                        <a:gd name="T11" fmla="*/ 524 h 1960"/>
                        <a:gd name="T12" fmla="*/ 2132 w 2280"/>
                        <a:gd name="T13" fmla="*/ 588 h 1960"/>
                        <a:gd name="T14" fmla="*/ 2148 w 2280"/>
                        <a:gd name="T15" fmla="*/ 736 h 1960"/>
                        <a:gd name="T16" fmla="*/ 2096 w 2280"/>
                        <a:gd name="T17" fmla="*/ 892 h 1960"/>
                        <a:gd name="T18" fmla="*/ 2152 w 2280"/>
                        <a:gd name="T19" fmla="*/ 980 h 1960"/>
                        <a:gd name="T20" fmla="*/ 2084 w 2280"/>
                        <a:gd name="T21" fmla="*/ 1132 h 1960"/>
                        <a:gd name="T22" fmla="*/ 2104 w 2280"/>
                        <a:gd name="T23" fmla="*/ 1188 h 1960"/>
                        <a:gd name="T24" fmla="*/ 2164 w 2280"/>
                        <a:gd name="T25" fmla="*/ 1272 h 1960"/>
                        <a:gd name="T26" fmla="*/ 2240 w 2280"/>
                        <a:gd name="T27" fmla="*/ 1384 h 1960"/>
                        <a:gd name="T28" fmla="*/ 2168 w 2280"/>
                        <a:gd name="T29" fmla="*/ 1408 h 1960"/>
                        <a:gd name="T30" fmla="*/ 2120 w 2280"/>
                        <a:gd name="T31" fmla="*/ 1440 h 1960"/>
                        <a:gd name="T32" fmla="*/ 1960 w 2280"/>
                        <a:gd name="T33" fmla="*/ 1344 h 1960"/>
                        <a:gd name="T34" fmla="*/ 1920 w 2280"/>
                        <a:gd name="T35" fmla="*/ 1380 h 1960"/>
                        <a:gd name="T36" fmla="*/ 1880 w 2280"/>
                        <a:gd name="T37" fmla="*/ 1448 h 1960"/>
                        <a:gd name="T38" fmla="*/ 1828 w 2280"/>
                        <a:gd name="T39" fmla="*/ 1460 h 1960"/>
                        <a:gd name="T40" fmla="*/ 1740 w 2280"/>
                        <a:gd name="T41" fmla="*/ 1524 h 1960"/>
                        <a:gd name="T42" fmla="*/ 1648 w 2280"/>
                        <a:gd name="T43" fmla="*/ 1536 h 1960"/>
                        <a:gd name="T44" fmla="*/ 1568 w 2280"/>
                        <a:gd name="T45" fmla="*/ 1600 h 1960"/>
                        <a:gd name="T46" fmla="*/ 1464 w 2280"/>
                        <a:gd name="T47" fmla="*/ 1676 h 1960"/>
                        <a:gd name="T48" fmla="*/ 1380 w 2280"/>
                        <a:gd name="T49" fmla="*/ 1636 h 1960"/>
                        <a:gd name="T50" fmla="*/ 1304 w 2280"/>
                        <a:gd name="T51" fmla="*/ 1636 h 1960"/>
                        <a:gd name="T52" fmla="*/ 1228 w 2280"/>
                        <a:gd name="T53" fmla="*/ 1644 h 1960"/>
                        <a:gd name="T54" fmla="*/ 1144 w 2280"/>
                        <a:gd name="T55" fmla="*/ 1648 h 1960"/>
                        <a:gd name="T56" fmla="*/ 1196 w 2280"/>
                        <a:gd name="T57" fmla="*/ 1720 h 1960"/>
                        <a:gd name="T58" fmla="*/ 1184 w 2280"/>
                        <a:gd name="T59" fmla="*/ 1800 h 1960"/>
                        <a:gd name="T60" fmla="*/ 1232 w 2280"/>
                        <a:gd name="T61" fmla="*/ 1840 h 1960"/>
                        <a:gd name="T62" fmla="*/ 1184 w 2280"/>
                        <a:gd name="T63" fmla="*/ 1960 h 1960"/>
                        <a:gd name="T64" fmla="*/ 952 w 2280"/>
                        <a:gd name="T65" fmla="*/ 1688 h 1960"/>
                        <a:gd name="T66" fmla="*/ 852 w 2280"/>
                        <a:gd name="T67" fmla="*/ 1368 h 1960"/>
                        <a:gd name="T68" fmla="*/ 812 w 2280"/>
                        <a:gd name="T69" fmla="*/ 1308 h 1960"/>
                        <a:gd name="T70" fmla="*/ 760 w 2280"/>
                        <a:gd name="T71" fmla="*/ 1244 h 1960"/>
                        <a:gd name="T72" fmla="*/ 712 w 2280"/>
                        <a:gd name="T73" fmla="*/ 1244 h 1960"/>
                        <a:gd name="T74" fmla="*/ 620 w 2280"/>
                        <a:gd name="T75" fmla="*/ 1200 h 1960"/>
                        <a:gd name="T76" fmla="*/ 488 w 2280"/>
                        <a:gd name="T77" fmla="*/ 1232 h 1960"/>
                        <a:gd name="T78" fmla="*/ 320 w 2280"/>
                        <a:gd name="T79" fmla="*/ 1240 h 1960"/>
                        <a:gd name="T80" fmla="*/ 232 w 2280"/>
                        <a:gd name="T81" fmla="*/ 1172 h 1960"/>
                        <a:gd name="T82" fmla="*/ 124 w 2280"/>
                        <a:gd name="T83" fmla="*/ 1156 h 1960"/>
                        <a:gd name="T84" fmla="*/ 16 w 2280"/>
                        <a:gd name="T85" fmla="*/ 1104 h 1960"/>
                        <a:gd name="T86" fmla="*/ 32 w 2280"/>
                        <a:gd name="T87" fmla="*/ 1012 h 1960"/>
                        <a:gd name="T88" fmla="*/ 188 w 2280"/>
                        <a:gd name="T89" fmla="*/ 924 h 1960"/>
                        <a:gd name="T90" fmla="*/ 296 w 2280"/>
                        <a:gd name="T91" fmla="*/ 736 h 1960"/>
                        <a:gd name="T92" fmla="*/ 312 w 2280"/>
                        <a:gd name="T93" fmla="*/ 580 h 1960"/>
                        <a:gd name="T94" fmla="*/ 292 w 2280"/>
                        <a:gd name="T95" fmla="*/ 536 h 1960"/>
                        <a:gd name="T96" fmla="*/ 300 w 2280"/>
                        <a:gd name="T97" fmla="*/ 448 h 1960"/>
                        <a:gd name="T98" fmla="*/ 292 w 2280"/>
                        <a:gd name="T99" fmla="*/ 360 h 1960"/>
                        <a:gd name="T100" fmla="*/ 408 w 2280"/>
                        <a:gd name="T101" fmla="*/ 300 h 1960"/>
                        <a:gd name="T102" fmla="*/ 584 w 2280"/>
                        <a:gd name="T103" fmla="*/ 276 h 1960"/>
                        <a:gd name="T104" fmla="*/ 916 w 2280"/>
                        <a:gd name="T105" fmla="*/ 512 h 1960"/>
                        <a:gd name="T106" fmla="*/ 1128 w 2280"/>
                        <a:gd name="T107" fmla="*/ 568 h 1960"/>
                        <a:gd name="T108" fmla="*/ 1280 w 2280"/>
                        <a:gd name="T109" fmla="*/ 428 h 1960"/>
                        <a:gd name="T110" fmla="*/ 1372 w 2280"/>
                        <a:gd name="T111" fmla="*/ 368 h 1960"/>
                        <a:gd name="T112" fmla="*/ 1560 w 2280"/>
                        <a:gd name="T113" fmla="*/ 392 h 1960"/>
                        <a:gd name="T114" fmla="*/ 1680 w 2280"/>
                        <a:gd name="T115" fmla="*/ 280 h 1960"/>
                        <a:gd name="T116" fmla="*/ 1688 w 2280"/>
                        <a:gd name="T117" fmla="*/ 120 h 1960"/>
                        <a:gd name="T118" fmla="*/ 1688 w 2280"/>
                        <a:gd name="T119" fmla="*/ 4 h 19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2280" h="1960">
                          <a:moveTo>
                            <a:pt x="1688" y="4"/>
                          </a:moveTo>
                          <a:lnTo>
                            <a:pt x="1732" y="0"/>
                          </a:lnTo>
                          <a:lnTo>
                            <a:pt x="1828" y="68"/>
                          </a:lnTo>
                          <a:lnTo>
                            <a:pt x="1876" y="112"/>
                          </a:lnTo>
                          <a:lnTo>
                            <a:pt x="1904" y="168"/>
                          </a:lnTo>
                          <a:lnTo>
                            <a:pt x="1960" y="208"/>
                          </a:lnTo>
                          <a:lnTo>
                            <a:pt x="2012" y="244"/>
                          </a:lnTo>
                          <a:lnTo>
                            <a:pt x="2064" y="304"/>
                          </a:lnTo>
                          <a:lnTo>
                            <a:pt x="2080" y="372"/>
                          </a:lnTo>
                          <a:lnTo>
                            <a:pt x="2044" y="424"/>
                          </a:lnTo>
                          <a:lnTo>
                            <a:pt x="2028" y="472"/>
                          </a:lnTo>
                          <a:lnTo>
                            <a:pt x="2064" y="524"/>
                          </a:lnTo>
                          <a:lnTo>
                            <a:pt x="2096" y="576"/>
                          </a:lnTo>
                          <a:lnTo>
                            <a:pt x="2132" y="588"/>
                          </a:lnTo>
                          <a:lnTo>
                            <a:pt x="2148" y="700"/>
                          </a:lnTo>
                          <a:lnTo>
                            <a:pt x="2148" y="736"/>
                          </a:lnTo>
                          <a:lnTo>
                            <a:pt x="2100" y="844"/>
                          </a:lnTo>
                          <a:lnTo>
                            <a:pt x="2096" y="892"/>
                          </a:lnTo>
                          <a:lnTo>
                            <a:pt x="2120" y="944"/>
                          </a:lnTo>
                          <a:lnTo>
                            <a:pt x="2152" y="980"/>
                          </a:lnTo>
                          <a:lnTo>
                            <a:pt x="2148" y="1052"/>
                          </a:lnTo>
                          <a:lnTo>
                            <a:pt x="2084" y="1132"/>
                          </a:lnTo>
                          <a:lnTo>
                            <a:pt x="2064" y="1168"/>
                          </a:lnTo>
                          <a:lnTo>
                            <a:pt x="2104" y="1188"/>
                          </a:lnTo>
                          <a:lnTo>
                            <a:pt x="2160" y="1236"/>
                          </a:lnTo>
                          <a:lnTo>
                            <a:pt x="2164" y="1272"/>
                          </a:lnTo>
                          <a:lnTo>
                            <a:pt x="2280" y="1352"/>
                          </a:lnTo>
                          <a:cubicBezTo>
                            <a:pt x="2267" y="1363"/>
                            <a:pt x="2254" y="1374"/>
                            <a:pt x="2240" y="1384"/>
                          </a:cubicBezTo>
                          <a:cubicBezTo>
                            <a:pt x="2233" y="1389"/>
                            <a:pt x="2216" y="1396"/>
                            <a:pt x="2216" y="1396"/>
                          </a:cubicBezTo>
                          <a:lnTo>
                            <a:pt x="2168" y="1408"/>
                          </a:lnTo>
                          <a:cubicBezTo>
                            <a:pt x="2155" y="1415"/>
                            <a:pt x="2140" y="1420"/>
                            <a:pt x="2128" y="1428"/>
                          </a:cubicBezTo>
                          <a:cubicBezTo>
                            <a:pt x="2124" y="1431"/>
                            <a:pt x="2120" y="1440"/>
                            <a:pt x="2120" y="1440"/>
                          </a:cubicBezTo>
                          <a:lnTo>
                            <a:pt x="2060" y="1400"/>
                          </a:lnTo>
                          <a:lnTo>
                            <a:pt x="1960" y="1344"/>
                          </a:lnTo>
                          <a:lnTo>
                            <a:pt x="1924" y="1336"/>
                          </a:lnTo>
                          <a:lnTo>
                            <a:pt x="1920" y="1380"/>
                          </a:lnTo>
                          <a:lnTo>
                            <a:pt x="1932" y="1420"/>
                          </a:lnTo>
                          <a:lnTo>
                            <a:pt x="1880" y="1448"/>
                          </a:lnTo>
                          <a:lnTo>
                            <a:pt x="1860" y="1500"/>
                          </a:lnTo>
                          <a:lnTo>
                            <a:pt x="1828" y="1460"/>
                          </a:lnTo>
                          <a:lnTo>
                            <a:pt x="1772" y="1464"/>
                          </a:lnTo>
                          <a:lnTo>
                            <a:pt x="1740" y="1524"/>
                          </a:lnTo>
                          <a:lnTo>
                            <a:pt x="1700" y="1544"/>
                          </a:lnTo>
                          <a:lnTo>
                            <a:pt x="1648" y="1536"/>
                          </a:lnTo>
                          <a:lnTo>
                            <a:pt x="1584" y="1556"/>
                          </a:lnTo>
                          <a:lnTo>
                            <a:pt x="1568" y="1600"/>
                          </a:lnTo>
                          <a:lnTo>
                            <a:pt x="1548" y="1620"/>
                          </a:lnTo>
                          <a:cubicBezTo>
                            <a:pt x="1520" y="1634"/>
                            <a:pt x="1479" y="1646"/>
                            <a:pt x="1464" y="1676"/>
                          </a:cubicBezTo>
                          <a:lnTo>
                            <a:pt x="1404" y="1656"/>
                          </a:lnTo>
                          <a:lnTo>
                            <a:pt x="1380" y="1636"/>
                          </a:lnTo>
                          <a:lnTo>
                            <a:pt x="1336" y="1624"/>
                          </a:lnTo>
                          <a:lnTo>
                            <a:pt x="1304" y="1636"/>
                          </a:lnTo>
                          <a:lnTo>
                            <a:pt x="1260" y="1644"/>
                          </a:lnTo>
                          <a:lnTo>
                            <a:pt x="1228" y="1644"/>
                          </a:lnTo>
                          <a:lnTo>
                            <a:pt x="1184" y="1636"/>
                          </a:lnTo>
                          <a:lnTo>
                            <a:pt x="1144" y="1648"/>
                          </a:lnTo>
                          <a:lnTo>
                            <a:pt x="1168" y="1692"/>
                          </a:lnTo>
                          <a:lnTo>
                            <a:pt x="1196" y="1720"/>
                          </a:lnTo>
                          <a:lnTo>
                            <a:pt x="1192" y="1748"/>
                          </a:lnTo>
                          <a:lnTo>
                            <a:pt x="1184" y="1800"/>
                          </a:lnTo>
                          <a:lnTo>
                            <a:pt x="1228" y="1816"/>
                          </a:lnTo>
                          <a:lnTo>
                            <a:pt x="1232" y="1840"/>
                          </a:lnTo>
                          <a:lnTo>
                            <a:pt x="1236" y="1908"/>
                          </a:lnTo>
                          <a:lnTo>
                            <a:pt x="1184" y="1960"/>
                          </a:lnTo>
                          <a:lnTo>
                            <a:pt x="1040" y="1948"/>
                          </a:lnTo>
                          <a:lnTo>
                            <a:pt x="952" y="1688"/>
                          </a:lnTo>
                          <a:lnTo>
                            <a:pt x="860" y="1396"/>
                          </a:lnTo>
                          <a:lnTo>
                            <a:pt x="852" y="1368"/>
                          </a:lnTo>
                          <a:lnTo>
                            <a:pt x="828" y="1332"/>
                          </a:lnTo>
                          <a:lnTo>
                            <a:pt x="812" y="1308"/>
                          </a:lnTo>
                          <a:cubicBezTo>
                            <a:pt x="812" y="1293"/>
                            <a:pt x="812" y="1279"/>
                            <a:pt x="812" y="1264"/>
                          </a:cubicBezTo>
                          <a:cubicBezTo>
                            <a:pt x="768" y="1242"/>
                            <a:pt x="787" y="1244"/>
                            <a:pt x="760" y="1244"/>
                          </a:cubicBezTo>
                          <a:lnTo>
                            <a:pt x="748" y="1208"/>
                          </a:lnTo>
                          <a:cubicBezTo>
                            <a:pt x="709" y="1234"/>
                            <a:pt x="712" y="1218"/>
                            <a:pt x="712" y="1244"/>
                          </a:cubicBezTo>
                          <a:lnTo>
                            <a:pt x="652" y="1224"/>
                          </a:lnTo>
                          <a:lnTo>
                            <a:pt x="620" y="1200"/>
                          </a:lnTo>
                          <a:lnTo>
                            <a:pt x="576" y="1212"/>
                          </a:lnTo>
                          <a:lnTo>
                            <a:pt x="488" y="1232"/>
                          </a:lnTo>
                          <a:lnTo>
                            <a:pt x="392" y="1248"/>
                          </a:lnTo>
                          <a:lnTo>
                            <a:pt x="320" y="1240"/>
                          </a:lnTo>
                          <a:lnTo>
                            <a:pt x="268" y="1204"/>
                          </a:lnTo>
                          <a:lnTo>
                            <a:pt x="232" y="1172"/>
                          </a:lnTo>
                          <a:lnTo>
                            <a:pt x="200" y="1156"/>
                          </a:lnTo>
                          <a:lnTo>
                            <a:pt x="124" y="1156"/>
                          </a:lnTo>
                          <a:lnTo>
                            <a:pt x="68" y="1148"/>
                          </a:lnTo>
                          <a:lnTo>
                            <a:pt x="16" y="1104"/>
                          </a:lnTo>
                          <a:lnTo>
                            <a:pt x="0" y="1060"/>
                          </a:lnTo>
                          <a:lnTo>
                            <a:pt x="32" y="1012"/>
                          </a:lnTo>
                          <a:lnTo>
                            <a:pt x="112" y="972"/>
                          </a:lnTo>
                          <a:lnTo>
                            <a:pt x="188" y="924"/>
                          </a:lnTo>
                          <a:lnTo>
                            <a:pt x="256" y="836"/>
                          </a:lnTo>
                          <a:lnTo>
                            <a:pt x="296" y="736"/>
                          </a:lnTo>
                          <a:lnTo>
                            <a:pt x="288" y="648"/>
                          </a:lnTo>
                          <a:lnTo>
                            <a:pt x="312" y="580"/>
                          </a:lnTo>
                          <a:lnTo>
                            <a:pt x="324" y="552"/>
                          </a:lnTo>
                          <a:lnTo>
                            <a:pt x="292" y="536"/>
                          </a:lnTo>
                          <a:lnTo>
                            <a:pt x="292" y="488"/>
                          </a:lnTo>
                          <a:lnTo>
                            <a:pt x="300" y="448"/>
                          </a:lnTo>
                          <a:lnTo>
                            <a:pt x="300" y="412"/>
                          </a:lnTo>
                          <a:lnTo>
                            <a:pt x="292" y="360"/>
                          </a:lnTo>
                          <a:lnTo>
                            <a:pt x="356" y="332"/>
                          </a:lnTo>
                          <a:lnTo>
                            <a:pt x="408" y="300"/>
                          </a:lnTo>
                          <a:lnTo>
                            <a:pt x="496" y="216"/>
                          </a:lnTo>
                          <a:lnTo>
                            <a:pt x="584" y="276"/>
                          </a:lnTo>
                          <a:lnTo>
                            <a:pt x="724" y="388"/>
                          </a:lnTo>
                          <a:lnTo>
                            <a:pt x="916" y="512"/>
                          </a:lnTo>
                          <a:lnTo>
                            <a:pt x="1024" y="544"/>
                          </a:lnTo>
                          <a:lnTo>
                            <a:pt x="1128" y="568"/>
                          </a:lnTo>
                          <a:lnTo>
                            <a:pt x="1228" y="504"/>
                          </a:lnTo>
                          <a:lnTo>
                            <a:pt x="1280" y="428"/>
                          </a:lnTo>
                          <a:lnTo>
                            <a:pt x="1328" y="372"/>
                          </a:lnTo>
                          <a:lnTo>
                            <a:pt x="1372" y="368"/>
                          </a:lnTo>
                          <a:lnTo>
                            <a:pt x="1472" y="384"/>
                          </a:lnTo>
                          <a:lnTo>
                            <a:pt x="1560" y="392"/>
                          </a:lnTo>
                          <a:lnTo>
                            <a:pt x="1612" y="340"/>
                          </a:lnTo>
                          <a:lnTo>
                            <a:pt x="1680" y="280"/>
                          </a:lnTo>
                          <a:lnTo>
                            <a:pt x="1712" y="192"/>
                          </a:lnTo>
                          <a:lnTo>
                            <a:pt x="1688" y="120"/>
                          </a:lnTo>
                          <a:lnTo>
                            <a:pt x="1680" y="44"/>
                          </a:lnTo>
                          <a:lnTo>
                            <a:pt x="1688" y="4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" name="Freeform 31"/>
                    <p:cNvSpPr>
                      <a:spLocks/>
                    </p:cNvSpPr>
                    <p:nvPr>
                      <p:custDataLst>
                        <p:tags r:id="rId6"/>
                      </p:custDataLst>
                    </p:nvPr>
                  </p:nvSpPr>
                  <p:spPr bwMode="gray">
                    <a:xfrm>
                      <a:off x="5571539" y="4614763"/>
                      <a:ext cx="1939436" cy="1095012"/>
                    </a:xfrm>
                    <a:custGeom>
                      <a:avLst/>
                      <a:gdLst>
                        <a:gd name="T0" fmla="*/ 1124 w 1412"/>
                        <a:gd name="T1" fmla="*/ 120 h 828"/>
                        <a:gd name="T2" fmla="*/ 1208 w 1412"/>
                        <a:gd name="T3" fmla="*/ 44 h 828"/>
                        <a:gd name="T4" fmla="*/ 1276 w 1412"/>
                        <a:gd name="T5" fmla="*/ 96 h 828"/>
                        <a:gd name="T6" fmla="*/ 1312 w 1412"/>
                        <a:gd name="T7" fmla="*/ 180 h 828"/>
                        <a:gd name="T8" fmla="*/ 1368 w 1412"/>
                        <a:gd name="T9" fmla="*/ 248 h 828"/>
                        <a:gd name="T10" fmla="*/ 1356 w 1412"/>
                        <a:gd name="T11" fmla="*/ 348 h 828"/>
                        <a:gd name="T12" fmla="*/ 1412 w 1412"/>
                        <a:gd name="T13" fmla="*/ 372 h 828"/>
                        <a:gd name="T14" fmla="*/ 1380 w 1412"/>
                        <a:gd name="T15" fmla="*/ 468 h 828"/>
                        <a:gd name="T16" fmla="*/ 1388 w 1412"/>
                        <a:gd name="T17" fmla="*/ 548 h 828"/>
                        <a:gd name="T18" fmla="*/ 1344 w 1412"/>
                        <a:gd name="T19" fmla="*/ 584 h 828"/>
                        <a:gd name="T20" fmla="*/ 1344 w 1412"/>
                        <a:gd name="T21" fmla="*/ 668 h 828"/>
                        <a:gd name="T22" fmla="*/ 1352 w 1412"/>
                        <a:gd name="T23" fmla="*/ 716 h 828"/>
                        <a:gd name="T24" fmla="*/ 1340 w 1412"/>
                        <a:gd name="T25" fmla="*/ 788 h 828"/>
                        <a:gd name="T26" fmla="*/ 1140 w 1412"/>
                        <a:gd name="T27" fmla="*/ 796 h 828"/>
                        <a:gd name="T28" fmla="*/ 888 w 1412"/>
                        <a:gd name="T29" fmla="*/ 796 h 828"/>
                        <a:gd name="T30" fmla="*/ 740 w 1412"/>
                        <a:gd name="T31" fmla="*/ 788 h 828"/>
                        <a:gd name="T32" fmla="*/ 572 w 1412"/>
                        <a:gd name="T33" fmla="*/ 828 h 828"/>
                        <a:gd name="T34" fmla="*/ 344 w 1412"/>
                        <a:gd name="T35" fmla="*/ 768 h 828"/>
                        <a:gd name="T36" fmla="*/ 216 w 1412"/>
                        <a:gd name="T37" fmla="*/ 744 h 828"/>
                        <a:gd name="T38" fmla="*/ 112 w 1412"/>
                        <a:gd name="T39" fmla="*/ 736 h 828"/>
                        <a:gd name="T40" fmla="*/ 72 w 1412"/>
                        <a:gd name="T41" fmla="*/ 644 h 828"/>
                        <a:gd name="T42" fmla="*/ 84 w 1412"/>
                        <a:gd name="T43" fmla="*/ 572 h 828"/>
                        <a:gd name="T44" fmla="*/ 48 w 1412"/>
                        <a:gd name="T45" fmla="*/ 456 h 828"/>
                        <a:gd name="T46" fmla="*/ 0 w 1412"/>
                        <a:gd name="T47" fmla="*/ 300 h 828"/>
                        <a:gd name="T48" fmla="*/ 132 w 1412"/>
                        <a:gd name="T49" fmla="*/ 300 h 828"/>
                        <a:gd name="T50" fmla="*/ 300 w 1412"/>
                        <a:gd name="T51" fmla="*/ 328 h 828"/>
                        <a:gd name="T52" fmla="*/ 356 w 1412"/>
                        <a:gd name="T53" fmla="*/ 296 h 828"/>
                        <a:gd name="T54" fmla="*/ 452 w 1412"/>
                        <a:gd name="T55" fmla="*/ 204 h 828"/>
                        <a:gd name="T56" fmla="*/ 552 w 1412"/>
                        <a:gd name="T57" fmla="*/ 200 h 828"/>
                        <a:gd name="T58" fmla="*/ 628 w 1412"/>
                        <a:gd name="T59" fmla="*/ 124 h 828"/>
                        <a:gd name="T60" fmla="*/ 720 w 1412"/>
                        <a:gd name="T61" fmla="*/ 144 h 828"/>
                        <a:gd name="T62" fmla="*/ 784 w 1412"/>
                        <a:gd name="T63" fmla="*/ 80 h 828"/>
                        <a:gd name="T64" fmla="*/ 808 w 1412"/>
                        <a:gd name="T65" fmla="*/ 0 h 828"/>
                        <a:gd name="T66" fmla="*/ 972 w 1412"/>
                        <a:gd name="T67" fmla="*/ 100 h 828"/>
                        <a:gd name="T68" fmla="*/ 1104 w 1412"/>
                        <a:gd name="T69" fmla="*/ 56 h 8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</a:cxnLst>
                      <a:rect l="0" t="0" r="r" b="b"/>
                      <a:pathLst>
                        <a:path w="1412" h="828">
                          <a:moveTo>
                            <a:pt x="1104" y="56"/>
                          </a:moveTo>
                          <a:lnTo>
                            <a:pt x="1124" y="120"/>
                          </a:lnTo>
                          <a:lnTo>
                            <a:pt x="1204" y="96"/>
                          </a:lnTo>
                          <a:lnTo>
                            <a:pt x="1208" y="44"/>
                          </a:lnTo>
                          <a:lnTo>
                            <a:pt x="1240" y="48"/>
                          </a:lnTo>
                          <a:lnTo>
                            <a:pt x="1276" y="96"/>
                          </a:lnTo>
                          <a:lnTo>
                            <a:pt x="1296" y="140"/>
                          </a:lnTo>
                          <a:lnTo>
                            <a:pt x="1312" y="180"/>
                          </a:lnTo>
                          <a:lnTo>
                            <a:pt x="1312" y="224"/>
                          </a:lnTo>
                          <a:lnTo>
                            <a:pt x="1368" y="248"/>
                          </a:lnTo>
                          <a:lnTo>
                            <a:pt x="1380" y="296"/>
                          </a:lnTo>
                          <a:lnTo>
                            <a:pt x="1356" y="348"/>
                          </a:lnTo>
                          <a:lnTo>
                            <a:pt x="1396" y="352"/>
                          </a:lnTo>
                          <a:lnTo>
                            <a:pt x="1412" y="372"/>
                          </a:lnTo>
                          <a:lnTo>
                            <a:pt x="1380" y="404"/>
                          </a:lnTo>
                          <a:lnTo>
                            <a:pt x="1380" y="468"/>
                          </a:lnTo>
                          <a:lnTo>
                            <a:pt x="1392" y="524"/>
                          </a:lnTo>
                          <a:lnTo>
                            <a:pt x="1388" y="548"/>
                          </a:lnTo>
                          <a:lnTo>
                            <a:pt x="1356" y="536"/>
                          </a:lnTo>
                          <a:lnTo>
                            <a:pt x="1344" y="584"/>
                          </a:lnTo>
                          <a:lnTo>
                            <a:pt x="1348" y="640"/>
                          </a:lnTo>
                          <a:lnTo>
                            <a:pt x="1344" y="668"/>
                          </a:lnTo>
                          <a:lnTo>
                            <a:pt x="1316" y="684"/>
                          </a:lnTo>
                          <a:lnTo>
                            <a:pt x="1352" y="716"/>
                          </a:lnTo>
                          <a:lnTo>
                            <a:pt x="1380" y="756"/>
                          </a:lnTo>
                          <a:lnTo>
                            <a:pt x="1340" y="788"/>
                          </a:lnTo>
                          <a:lnTo>
                            <a:pt x="1300" y="780"/>
                          </a:lnTo>
                          <a:lnTo>
                            <a:pt x="1140" y="796"/>
                          </a:lnTo>
                          <a:lnTo>
                            <a:pt x="1000" y="804"/>
                          </a:lnTo>
                          <a:lnTo>
                            <a:pt x="888" y="796"/>
                          </a:lnTo>
                          <a:lnTo>
                            <a:pt x="836" y="768"/>
                          </a:lnTo>
                          <a:lnTo>
                            <a:pt x="740" y="788"/>
                          </a:lnTo>
                          <a:lnTo>
                            <a:pt x="680" y="824"/>
                          </a:lnTo>
                          <a:lnTo>
                            <a:pt x="572" y="828"/>
                          </a:lnTo>
                          <a:lnTo>
                            <a:pt x="444" y="800"/>
                          </a:lnTo>
                          <a:lnTo>
                            <a:pt x="344" y="768"/>
                          </a:lnTo>
                          <a:lnTo>
                            <a:pt x="260" y="716"/>
                          </a:lnTo>
                          <a:lnTo>
                            <a:pt x="216" y="744"/>
                          </a:lnTo>
                          <a:lnTo>
                            <a:pt x="160" y="760"/>
                          </a:lnTo>
                          <a:lnTo>
                            <a:pt x="112" y="736"/>
                          </a:lnTo>
                          <a:lnTo>
                            <a:pt x="96" y="672"/>
                          </a:lnTo>
                          <a:lnTo>
                            <a:pt x="72" y="644"/>
                          </a:lnTo>
                          <a:lnTo>
                            <a:pt x="24" y="608"/>
                          </a:lnTo>
                          <a:lnTo>
                            <a:pt x="84" y="572"/>
                          </a:lnTo>
                          <a:lnTo>
                            <a:pt x="84" y="480"/>
                          </a:lnTo>
                          <a:lnTo>
                            <a:pt x="48" y="456"/>
                          </a:lnTo>
                          <a:lnTo>
                            <a:pt x="52" y="388"/>
                          </a:lnTo>
                          <a:lnTo>
                            <a:pt x="0" y="300"/>
                          </a:lnTo>
                          <a:lnTo>
                            <a:pt x="72" y="304"/>
                          </a:lnTo>
                          <a:lnTo>
                            <a:pt x="132" y="300"/>
                          </a:lnTo>
                          <a:lnTo>
                            <a:pt x="204" y="276"/>
                          </a:lnTo>
                          <a:lnTo>
                            <a:pt x="300" y="328"/>
                          </a:lnTo>
                          <a:lnTo>
                            <a:pt x="328" y="344"/>
                          </a:lnTo>
                          <a:lnTo>
                            <a:pt x="356" y="296"/>
                          </a:lnTo>
                          <a:lnTo>
                            <a:pt x="416" y="272"/>
                          </a:lnTo>
                          <a:lnTo>
                            <a:pt x="452" y="204"/>
                          </a:lnTo>
                          <a:lnTo>
                            <a:pt x="508" y="204"/>
                          </a:lnTo>
                          <a:lnTo>
                            <a:pt x="552" y="200"/>
                          </a:lnTo>
                          <a:lnTo>
                            <a:pt x="584" y="180"/>
                          </a:lnTo>
                          <a:lnTo>
                            <a:pt x="628" y="124"/>
                          </a:lnTo>
                          <a:lnTo>
                            <a:pt x="684" y="120"/>
                          </a:lnTo>
                          <a:lnTo>
                            <a:pt x="720" y="144"/>
                          </a:lnTo>
                          <a:lnTo>
                            <a:pt x="756" y="84"/>
                          </a:lnTo>
                          <a:lnTo>
                            <a:pt x="784" y="80"/>
                          </a:lnTo>
                          <a:lnTo>
                            <a:pt x="780" y="0"/>
                          </a:lnTo>
                          <a:lnTo>
                            <a:pt x="808" y="0"/>
                          </a:lnTo>
                          <a:lnTo>
                            <a:pt x="888" y="48"/>
                          </a:lnTo>
                          <a:lnTo>
                            <a:pt x="972" y="100"/>
                          </a:lnTo>
                          <a:lnTo>
                            <a:pt x="1004" y="68"/>
                          </a:lnTo>
                          <a:lnTo>
                            <a:pt x="1104" y="56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1" name="Freeform 32"/>
                    <p:cNvSpPr>
                      <a:spLocks/>
                    </p:cNvSpPr>
                    <p:nvPr>
                      <p:custDataLst>
                        <p:tags r:id="rId7"/>
                      </p:custDataLst>
                    </p:nvPr>
                  </p:nvSpPr>
                  <p:spPr bwMode="gray">
                    <a:xfrm>
                      <a:off x="3548201" y="4408459"/>
                      <a:ext cx="1889990" cy="1005080"/>
                    </a:xfrm>
                    <a:custGeom>
                      <a:avLst/>
                      <a:gdLst>
                        <a:gd name="T0" fmla="*/ 1376 w 1376"/>
                        <a:gd name="T1" fmla="*/ 760 h 760"/>
                        <a:gd name="T2" fmla="*/ 916 w 1376"/>
                        <a:gd name="T3" fmla="*/ 752 h 760"/>
                        <a:gd name="T4" fmla="*/ 324 w 1376"/>
                        <a:gd name="T5" fmla="*/ 736 h 760"/>
                        <a:gd name="T6" fmla="*/ 176 w 1376"/>
                        <a:gd name="T7" fmla="*/ 724 h 760"/>
                        <a:gd name="T8" fmla="*/ 104 w 1376"/>
                        <a:gd name="T9" fmla="*/ 724 h 760"/>
                        <a:gd name="T10" fmla="*/ 132 w 1376"/>
                        <a:gd name="T11" fmla="*/ 660 h 760"/>
                        <a:gd name="T12" fmla="*/ 144 w 1376"/>
                        <a:gd name="T13" fmla="*/ 600 h 760"/>
                        <a:gd name="T14" fmla="*/ 156 w 1376"/>
                        <a:gd name="T15" fmla="*/ 576 h 760"/>
                        <a:gd name="T16" fmla="*/ 156 w 1376"/>
                        <a:gd name="T17" fmla="*/ 540 h 760"/>
                        <a:gd name="T18" fmla="*/ 128 w 1376"/>
                        <a:gd name="T19" fmla="*/ 512 h 760"/>
                        <a:gd name="T20" fmla="*/ 124 w 1376"/>
                        <a:gd name="T21" fmla="*/ 484 h 760"/>
                        <a:gd name="T22" fmla="*/ 120 w 1376"/>
                        <a:gd name="T23" fmla="*/ 456 h 760"/>
                        <a:gd name="T24" fmla="*/ 80 w 1376"/>
                        <a:gd name="T25" fmla="*/ 424 h 760"/>
                        <a:gd name="T26" fmla="*/ 80 w 1376"/>
                        <a:gd name="T27" fmla="*/ 380 h 760"/>
                        <a:gd name="T28" fmla="*/ 68 w 1376"/>
                        <a:gd name="T29" fmla="*/ 352 h 760"/>
                        <a:gd name="T30" fmla="*/ 60 w 1376"/>
                        <a:gd name="T31" fmla="*/ 312 h 760"/>
                        <a:gd name="T32" fmla="*/ 32 w 1376"/>
                        <a:gd name="T33" fmla="*/ 300 h 760"/>
                        <a:gd name="T34" fmla="*/ 0 w 1376"/>
                        <a:gd name="T35" fmla="*/ 268 h 760"/>
                        <a:gd name="T36" fmla="*/ 0 w 1376"/>
                        <a:gd name="T37" fmla="*/ 240 h 760"/>
                        <a:gd name="T38" fmla="*/ 12 w 1376"/>
                        <a:gd name="T39" fmla="*/ 216 h 760"/>
                        <a:gd name="T40" fmla="*/ 8 w 1376"/>
                        <a:gd name="T41" fmla="*/ 164 h 760"/>
                        <a:gd name="T42" fmla="*/ 8 w 1376"/>
                        <a:gd name="T43" fmla="*/ 128 h 760"/>
                        <a:gd name="T44" fmla="*/ 60 w 1376"/>
                        <a:gd name="T45" fmla="*/ 120 h 760"/>
                        <a:gd name="T46" fmla="*/ 112 w 1376"/>
                        <a:gd name="T47" fmla="*/ 92 h 760"/>
                        <a:gd name="T48" fmla="*/ 124 w 1376"/>
                        <a:gd name="T49" fmla="*/ 40 h 760"/>
                        <a:gd name="T50" fmla="*/ 144 w 1376"/>
                        <a:gd name="T51" fmla="*/ 12 h 760"/>
                        <a:gd name="T52" fmla="*/ 192 w 1376"/>
                        <a:gd name="T53" fmla="*/ 0 h 760"/>
                        <a:gd name="T54" fmla="*/ 216 w 1376"/>
                        <a:gd name="T55" fmla="*/ 40 h 760"/>
                        <a:gd name="T56" fmla="*/ 228 w 1376"/>
                        <a:gd name="T57" fmla="*/ 84 h 760"/>
                        <a:gd name="T58" fmla="*/ 264 w 1376"/>
                        <a:gd name="T59" fmla="*/ 96 h 760"/>
                        <a:gd name="T60" fmla="*/ 328 w 1376"/>
                        <a:gd name="T61" fmla="*/ 120 h 760"/>
                        <a:gd name="T62" fmla="*/ 408 w 1376"/>
                        <a:gd name="T63" fmla="*/ 132 h 760"/>
                        <a:gd name="T64" fmla="*/ 460 w 1376"/>
                        <a:gd name="T65" fmla="*/ 140 h 760"/>
                        <a:gd name="T66" fmla="*/ 520 w 1376"/>
                        <a:gd name="T67" fmla="*/ 148 h 760"/>
                        <a:gd name="T68" fmla="*/ 576 w 1376"/>
                        <a:gd name="T69" fmla="*/ 196 h 760"/>
                        <a:gd name="T70" fmla="*/ 624 w 1376"/>
                        <a:gd name="T71" fmla="*/ 220 h 760"/>
                        <a:gd name="T72" fmla="*/ 672 w 1376"/>
                        <a:gd name="T73" fmla="*/ 228 h 760"/>
                        <a:gd name="T74" fmla="*/ 752 w 1376"/>
                        <a:gd name="T75" fmla="*/ 232 h 760"/>
                        <a:gd name="T76" fmla="*/ 840 w 1376"/>
                        <a:gd name="T77" fmla="*/ 220 h 760"/>
                        <a:gd name="T78" fmla="*/ 928 w 1376"/>
                        <a:gd name="T79" fmla="*/ 192 h 760"/>
                        <a:gd name="T80" fmla="*/ 976 w 1376"/>
                        <a:gd name="T81" fmla="*/ 148 h 760"/>
                        <a:gd name="T82" fmla="*/ 1024 w 1376"/>
                        <a:gd name="T83" fmla="*/ 144 h 760"/>
                        <a:gd name="T84" fmla="*/ 1072 w 1376"/>
                        <a:gd name="T85" fmla="*/ 140 h 760"/>
                        <a:gd name="T86" fmla="*/ 1116 w 1376"/>
                        <a:gd name="T87" fmla="*/ 60 h 760"/>
                        <a:gd name="T88" fmla="*/ 1168 w 1376"/>
                        <a:gd name="T89" fmla="*/ 80 h 760"/>
                        <a:gd name="T90" fmla="*/ 1160 w 1376"/>
                        <a:gd name="T91" fmla="*/ 128 h 760"/>
                        <a:gd name="T92" fmla="*/ 1188 w 1376"/>
                        <a:gd name="T93" fmla="*/ 152 h 760"/>
                        <a:gd name="T94" fmla="*/ 1272 w 1376"/>
                        <a:gd name="T95" fmla="*/ 400 h 760"/>
                        <a:gd name="T96" fmla="*/ 1376 w 1376"/>
                        <a:gd name="T97" fmla="*/ 760 h 7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1376" h="760">
                          <a:moveTo>
                            <a:pt x="1376" y="760"/>
                          </a:moveTo>
                          <a:lnTo>
                            <a:pt x="916" y="752"/>
                          </a:lnTo>
                          <a:lnTo>
                            <a:pt x="324" y="736"/>
                          </a:lnTo>
                          <a:lnTo>
                            <a:pt x="176" y="724"/>
                          </a:lnTo>
                          <a:lnTo>
                            <a:pt x="104" y="724"/>
                          </a:lnTo>
                          <a:lnTo>
                            <a:pt x="132" y="660"/>
                          </a:lnTo>
                          <a:lnTo>
                            <a:pt x="144" y="600"/>
                          </a:lnTo>
                          <a:lnTo>
                            <a:pt x="156" y="576"/>
                          </a:lnTo>
                          <a:lnTo>
                            <a:pt x="156" y="540"/>
                          </a:lnTo>
                          <a:lnTo>
                            <a:pt x="128" y="512"/>
                          </a:lnTo>
                          <a:lnTo>
                            <a:pt x="124" y="484"/>
                          </a:lnTo>
                          <a:lnTo>
                            <a:pt x="120" y="456"/>
                          </a:lnTo>
                          <a:lnTo>
                            <a:pt x="80" y="424"/>
                          </a:lnTo>
                          <a:lnTo>
                            <a:pt x="80" y="380"/>
                          </a:lnTo>
                          <a:lnTo>
                            <a:pt x="68" y="352"/>
                          </a:lnTo>
                          <a:lnTo>
                            <a:pt x="60" y="312"/>
                          </a:lnTo>
                          <a:lnTo>
                            <a:pt x="32" y="300"/>
                          </a:lnTo>
                          <a:lnTo>
                            <a:pt x="0" y="268"/>
                          </a:lnTo>
                          <a:lnTo>
                            <a:pt x="0" y="240"/>
                          </a:lnTo>
                          <a:lnTo>
                            <a:pt x="12" y="216"/>
                          </a:lnTo>
                          <a:lnTo>
                            <a:pt x="8" y="164"/>
                          </a:lnTo>
                          <a:lnTo>
                            <a:pt x="8" y="128"/>
                          </a:lnTo>
                          <a:lnTo>
                            <a:pt x="60" y="120"/>
                          </a:lnTo>
                          <a:lnTo>
                            <a:pt x="112" y="92"/>
                          </a:lnTo>
                          <a:lnTo>
                            <a:pt x="124" y="40"/>
                          </a:lnTo>
                          <a:lnTo>
                            <a:pt x="144" y="12"/>
                          </a:lnTo>
                          <a:lnTo>
                            <a:pt x="192" y="0"/>
                          </a:lnTo>
                          <a:lnTo>
                            <a:pt x="216" y="40"/>
                          </a:lnTo>
                          <a:lnTo>
                            <a:pt x="228" y="84"/>
                          </a:lnTo>
                          <a:lnTo>
                            <a:pt x="264" y="96"/>
                          </a:lnTo>
                          <a:lnTo>
                            <a:pt x="328" y="120"/>
                          </a:lnTo>
                          <a:lnTo>
                            <a:pt x="408" y="132"/>
                          </a:lnTo>
                          <a:lnTo>
                            <a:pt x="460" y="140"/>
                          </a:lnTo>
                          <a:lnTo>
                            <a:pt x="520" y="148"/>
                          </a:lnTo>
                          <a:lnTo>
                            <a:pt x="576" y="196"/>
                          </a:lnTo>
                          <a:lnTo>
                            <a:pt x="624" y="220"/>
                          </a:lnTo>
                          <a:lnTo>
                            <a:pt x="672" y="228"/>
                          </a:lnTo>
                          <a:lnTo>
                            <a:pt x="752" y="232"/>
                          </a:lnTo>
                          <a:lnTo>
                            <a:pt x="840" y="220"/>
                          </a:lnTo>
                          <a:lnTo>
                            <a:pt x="928" y="192"/>
                          </a:lnTo>
                          <a:lnTo>
                            <a:pt x="976" y="148"/>
                          </a:lnTo>
                          <a:lnTo>
                            <a:pt x="1024" y="144"/>
                          </a:lnTo>
                          <a:lnTo>
                            <a:pt x="1072" y="140"/>
                          </a:lnTo>
                          <a:lnTo>
                            <a:pt x="1116" y="60"/>
                          </a:lnTo>
                          <a:lnTo>
                            <a:pt x="1168" y="80"/>
                          </a:lnTo>
                          <a:lnTo>
                            <a:pt x="1160" y="128"/>
                          </a:lnTo>
                          <a:lnTo>
                            <a:pt x="1188" y="152"/>
                          </a:lnTo>
                          <a:lnTo>
                            <a:pt x="1272" y="400"/>
                          </a:lnTo>
                          <a:lnTo>
                            <a:pt x="1376" y="760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2" name="Freeform 33"/>
                    <p:cNvSpPr>
                      <a:spLocks/>
                    </p:cNvSpPr>
                    <p:nvPr>
                      <p:custDataLst>
                        <p:tags r:id="rId8"/>
                      </p:custDataLst>
                    </p:nvPr>
                  </p:nvSpPr>
                  <p:spPr bwMode="gray">
                    <a:xfrm>
                      <a:off x="2860688" y="4561862"/>
                      <a:ext cx="906537" cy="1020949"/>
                    </a:xfrm>
                    <a:custGeom>
                      <a:avLst/>
                      <a:gdLst>
                        <a:gd name="T0" fmla="*/ 112 w 660"/>
                        <a:gd name="T1" fmla="*/ 180 h 772"/>
                        <a:gd name="T2" fmla="*/ 200 w 660"/>
                        <a:gd name="T3" fmla="*/ 176 h 772"/>
                        <a:gd name="T4" fmla="*/ 224 w 660"/>
                        <a:gd name="T5" fmla="*/ 48 h 772"/>
                        <a:gd name="T6" fmla="*/ 340 w 660"/>
                        <a:gd name="T7" fmla="*/ 12 h 772"/>
                        <a:gd name="T8" fmla="*/ 420 w 660"/>
                        <a:gd name="T9" fmla="*/ 0 h 772"/>
                        <a:gd name="T10" fmla="*/ 512 w 660"/>
                        <a:gd name="T11" fmla="*/ 16 h 772"/>
                        <a:gd name="T12" fmla="*/ 516 w 660"/>
                        <a:gd name="T13" fmla="*/ 104 h 772"/>
                        <a:gd name="T14" fmla="*/ 496 w 660"/>
                        <a:gd name="T15" fmla="*/ 152 h 772"/>
                        <a:gd name="T16" fmla="*/ 540 w 660"/>
                        <a:gd name="T17" fmla="*/ 188 h 772"/>
                        <a:gd name="T18" fmla="*/ 572 w 660"/>
                        <a:gd name="T19" fmla="*/ 204 h 772"/>
                        <a:gd name="T20" fmla="*/ 584 w 660"/>
                        <a:gd name="T21" fmla="*/ 252 h 772"/>
                        <a:gd name="T22" fmla="*/ 588 w 660"/>
                        <a:gd name="T23" fmla="*/ 288 h 772"/>
                        <a:gd name="T24" fmla="*/ 616 w 660"/>
                        <a:gd name="T25" fmla="*/ 336 h 772"/>
                        <a:gd name="T26" fmla="*/ 632 w 660"/>
                        <a:gd name="T27" fmla="*/ 392 h 772"/>
                        <a:gd name="T28" fmla="*/ 660 w 660"/>
                        <a:gd name="T29" fmla="*/ 444 h 772"/>
                        <a:gd name="T30" fmla="*/ 616 w 660"/>
                        <a:gd name="T31" fmla="*/ 632 h 772"/>
                        <a:gd name="T32" fmla="*/ 484 w 660"/>
                        <a:gd name="T33" fmla="*/ 684 h 772"/>
                        <a:gd name="T34" fmla="*/ 332 w 660"/>
                        <a:gd name="T35" fmla="*/ 756 h 772"/>
                        <a:gd name="T36" fmla="*/ 172 w 660"/>
                        <a:gd name="T37" fmla="*/ 768 h 772"/>
                        <a:gd name="T38" fmla="*/ 120 w 660"/>
                        <a:gd name="T39" fmla="*/ 772 h 772"/>
                        <a:gd name="T40" fmla="*/ 100 w 660"/>
                        <a:gd name="T41" fmla="*/ 744 h 772"/>
                        <a:gd name="T42" fmla="*/ 44 w 660"/>
                        <a:gd name="T43" fmla="*/ 620 h 772"/>
                        <a:gd name="T44" fmla="*/ 148 w 660"/>
                        <a:gd name="T45" fmla="*/ 664 h 772"/>
                        <a:gd name="T46" fmla="*/ 228 w 660"/>
                        <a:gd name="T47" fmla="*/ 672 h 772"/>
                        <a:gd name="T48" fmla="*/ 260 w 660"/>
                        <a:gd name="T49" fmla="*/ 680 h 772"/>
                        <a:gd name="T50" fmla="*/ 320 w 660"/>
                        <a:gd name="T51" fmla="*/ 688 h 772"/>
                        <a:gd name="T52" fmla="*/ 364 w 660"/>
                        <a:gd name="T53" fmla="*/ 656 h 772"/>
                        <a:gd name="T54" fmla="*/ 420 w 660"/>
                        <a:gd name="T55" fmla="*/ 592 h 772"/>
                        <a:gd name="T56" fmla="*/ 436 w 660"/>
                        <a:gd name="T57" fmla="*/ 568 h 772"/>
                        <a:gd name="T58" fmla="*/ 356 w 660"/>
                        <a:gd name="T59" fmla="*/ 612 h 772"/>
                        <a:gd name="T60" fmla="*/ 340 w 660"/>
                        <a:gd name="T61" fmla="*/ 648 h 772"/>
                        <a:gd name="T62" fmla="*/ 288 w 660"/>
                        <a:gd name="T63" fmla="*/ 672 h 772"/>
                        <a:gd name="T64" fmla="*/ 252 w 660"/>
                        <a:gd name="T65" fmla="*/ 652 h 772"/>
                        <a:gd name="T66" fmla="*/ 192 w 660"/>
                        <a:gd name="T67" fmla="*/ 640 h 772"/>
                        <a:gd name="T68" fmla="*/ 128 w 660"/>
                        <a:gd name="T69" fmla="*/ 640 h 772"/>
                        <a:gd name="T70" fmla="*/ 64 w 660"/>
                        <a:gd name="T71" fmla="*/ 628 h 772"/>
                        <a:gd name="T72" fmla="*/ 12 w 660"/>
                        <a:gd name="T73" fmla="*/ 604 h 772"/>
                        <a:gd name="T74" fmla="*/ 0 w 660"/>
                        <a:gd name="T75" fmla="*/ 568 h 772"/>
                        <a:gd name="T76" fmla="*/ 0 w 660"/>
                        <a:gd name="T77" fmla="*/ 476 h 772"/>
                        <a:gd name="T78" fmla="*/ 28 w 660"/>
                        <a:gd name="T79" fmla="*/ 424 h 772"/>
                        <a:gd name="T80" fmla="*/ 32 w 660"/>
                        <a:gd name="T81" fmla="*/ 388 h 772"/>
                        <a:gd name="T82" fmla="*/ 80 w 660"/>
                        <a:gd name="T83" fmla="*/ 304 h 772"/>
                        <a:gd name="T84" fmla="*/ 100 w 660"/>
                        <a:gd name="T85" fmla="*/ 252 h 772"/>
                        <a:gd name="T86" fmla="*/ 76 w 660"/>
                        <a:gd name="T87" fmla="*/ 220 h 772"/>
                        <a:gd name="T88" fmla="*/ 112 w 660"/>
                        <a:gd name="T89" fmla="*/ 180 h 7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660" h="772">
                          <a:moveTo>
                            <a:pt x="112" y="180"/>
                          </a:moveTo>
                          <a:lnTo>
                            <a:pt x="200" y="176"/>
                          </a:lnTo>
                          <a:lnTo>
                            <a:pt x="224" y="48"/>
                          </a:lnTo>
                          <a:lnTo>
                            <a:pt x="340" y="12"/>
                          </a:lnTo>
                          <a:lnTo>
                            <a:pt x="420" y="0"/>
                          </a:lnTo>
                          <a:lnTo>
                            <a:pt x="512" y="16"/>
                          </a:lnTo>
                          <a:lnTo>
                            <a:pt x="516" y="104"/>
                          </a:lnTo>
                          <a:lnTo>
                            <a:pt x="496" y="152"/>
                          </a:lnTo>
                          <a:lnTo>
                            <a:pt x="540" y="188"/>
                          </a:lnTo>
                          <a:lnTo>
                            <a:pt x="572" y="204"/>
                          </a:lnTo>
                          <a:lnTo>
                            <a:pt x="584" y="252"/>
                          </a:lnTo>
                          <a:lnTo>
                            <a:pt x="588" y="288"/>
                          </a:lnTo>
                          <a:lnTo>
                            <a:pt x="616" y="336"/>
                          </a:lnTo>
                          <a:lnTo>
                            <a:pt x="632" y="392"/>
                          </a:lnTo>
                          <a:lnTo>
                            <a:pt x="660" y="444"/>
                          </a:lnTo>
                          <a:lnTo>
                            <a:pt x="616" y="632"/>
                          </a:lnTo>
                          <a:lnTo>
                            <a:pt x="484" y="684"/>
                          </a:lnTo>
                          <a:lnTo>
                            <a:pt x="332" y="756"/>
                          </a:lnTo>
                          <a:lnTo>
                            <a:pt x="172" y="768"/>
                          </a:lnTo>
                          <a:lnTo>
                            <a:pt x="120" y="772"/>
                          </a:lnTo>
                          <a:lnTo>
                            <a:pt x="100" y="744"/>
                          </a:lnTo>
                          <a:lnTo>
                            <a:pt x="44" y="620"/>
                          </a:lnTo>
                          <a:lnTo>
                            <a:pt x="148" y="664"/>
                          </a:lnTo>
                          <a:lnTo>
                            <a:pt x="228" y="672"/>
                          </a:lnTo>
                          <a:lnTo>
                            <a:pt x="260" y="680"/>
                          </a:lnTo>
                          <a:lnTo>
                            <a:pt x="320" y="688"/>
                          </a:lnTo>
                          <a:lnTo>
                            <a:pt x="364" y="656"/>
                          </a:lnTo>
                          <a:lnTo>
                            <a:pt x="420" y="592"/>
                          </a:lnTo>
                          <a:lnTo>
                            <a:pt x="436" y="568"/>
                          </a:lnTo>
                          <a:lnTo>
                            <a:pt x="356" y="612"/>
                          </a:lnTo>
                          <a:lnTo>
                            <a:pt x="340" y="648"/>
                          </a:lnTo>
                          <a:lnTo>
                            <a:pt x="288" y="672"/>
                          </a:lnTo>
                          <a:lnTo>
                            <a:pt x="252" y="652"/>
                          </a:lnTo>
                          <a:lnTo>
                            <a:pt x="192" y="640"/>
                          </a:lnTo>
                          <a:lnTo>
                            <a:pt x="128" y="640"/>
                          </a:lnTo>
                          <a:lnTo>
                            <a:pt x="64" y="628"/>
                          </a:lnTo>
                          <a:lnTo>
                            <a:pt x="12" y="604"/>
                          </a:lnTo>
                          <a:lnTo>
                            <a:pt x="0" y="568"/>
                          </a:lnTo>
                          <a:lnTo>
                            <a:pt x="0" y="476"/>
                          </a:lnTo>
                          <a:lnTo>
                            <a:pt x="28" y="424"/>
                          </a:lnTo>
                          <a:lnTo>
                            <a:pt x="32" y="388"/>
                          </a:lnTo>
                          <a:lnTo>
                            <a:pt x="80" y="304"/>
                          </a:lnTo>
                          <a:lnTo>
                            <a:pt x="100" y="252"/>
                          </a:lnTo>
                          <a:lnTo>
                            <a:pt x="76" y="220"/>
                          </a:lnTo>
                          <a:lnTo>
                            <a:pt x="112" y="180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3" name="Freeform 34"/>
                    <p:cNvSpPr>
                      <a:spLocks/>
                    </p:cNvSpPr>
                    <p:nvPr>
                      <p:custDataLst>
                        <p:tags r:id="rId9"/>
                      </p:custDataLst>
                    </p:nvPr>
                  </p:nvSpPr>
                  <p:spPr bwMode="gray">
                    <a:xfrm>
                      <a:off x="2062660" y="4778750"/>
                      <a:ext cx="957355" cy="872836"/>
                    </a:xfrm>
                    <a:custGeom>
                      <a:avLst/>
                      <a:gdLst>
                        <a:gd name="T0" fmla="*/ 189 w 697"/>
                        <a:gd name="T1" fmla="*/ 0 h 660"/>
                        <a:gd name="T2" fmla="*/ 93 w 697"/>
                        <a:gd name="T3" fmla="*/ 24 h 660"/>
                        <a:gd name="T4" fmla="*/ 69 w 697"/>
                        <a:gd name="T5" fmla="*/ 98 h 660"/>
                        <a:gd name="T6" fmla="*/ 42 w 697"/>
                        <a:gd name="T7" fmla="*/ 222 h 660"/>
                        <a:gd name="T8" fmla="*/ 15 w 697"/>
                        <a:gd name="T9" fmla="*/ 320 h 660"/>
                        <a:gd name="T10" fmla="*/ 28 w 697"/>
                        <a:gd name="T11" fmla="*/ 366 h 660"/>
                        <a:gd name="T12" fmla="*/ 69 w 697"/>
                        <a:gd name="T13" fmla="*/ 353 h 660"/>
                        <a:gd name="T14" fmla="*/ 133 w 697"/>
                        <a:gd name="T15" fmla="*/ 414 h 660"/>
                        <a:gd name="T16" fmla="*/ 171 w 697"/>
                        <a:gd name="T17" fmla="*/ 432 h 660"/>
                        <a:gd name="T18" fmla="*/ 229 w 697"/>
                        <a:gd name="T19" fmla="*/ 413 h 660"/>
                        <a:gd name="T20" fmla="*/ 274 w 697"/>
                        <a:gd name="T21" fmla="*/ 462 h 660"/>
                        <a:gd name="T22" fmla="*/ 333 w 697"/>
                        <a:gd name="T23" fmla="*/ 449 h 660"/>
                        <a:gd name="T24" fmla="*/ 402 w 697"/>
                        <a:gd name="T25" fmla="*/ 459 h 660"/>
                        <a:gd name="T26" fmla="*/ 462 w 697"/>
                        <a:gd name="T27" fmla="*/ 473 h 660"/>
                        <a:gd name="T28" fmla="*/ 532 w 697"/>
                        <a:gd name="T29" fmla="*/ 461 h 660"/>
                        <a:gd name="T30" fmla="*/ 580 w 697"/>
                        <a:gd name="T31" fmla="*/ 446 h 660"/>
                        <a:gd name="T32" fmla="*/ 573 w 697"/>
                        <a:gd name="T33" fmla="*/ 473 h 660"/>
                        <a:gd name="T34" fmla="*/ 445 w 697"/>
                        <a:gd name="T35" fmla="*/ 491 h 660"/>
                        <a:gd name="T36" fmla="*/ 364 w 697"/>
                        <a:gd name="T37" fmla="*/ 494 h 660"/>
                        <a:gd name="T38" fmla="*/ 315 w 697"/>
                        <a:gd name="T39" fmla="*/ 494 h 660"/>
                        <a:gd name="T40" fmla="*/ 250 w 697"/>
                        <a:gd name="T41" fmla="*/ 483 h 660"/>
                        <a:gd name="T42" fmla="*/ 198 w 697"/>
                        <a:gd name="T43" fmla="*/ 489 h 660"/>
                        <a:gd name="T44" fmla="*/ 157 w 697"/>
                        <a:gd name="T45" fmla="*/ 462 h 660"/>
                        <a:gd name="T46" fmla="*/ 129 w 697"/>
                        <a:gd name="T47" fmla="*/ 453 h 660"/>
                        <a:gd name="T48" fmla="*/ 114 w 697"/>
                        <a:gd name="T49" fmla="*/ 495 h 660"/>
                        <a:gd name="T50" fmla="*/ 91 w 697"/>
                        <a:gd name="T51" fmla="*/ 510 h 660"/>
                        <a:gd name="T52" fmla="*/ 100 w 697"/>
                        <a:gd name="T53" fmla="*/ 552 h 660"/>
                        <a:gd name="T54" fmla="*/ 43 w 697"/>
                        <a:gd name="T55" fmla="*/ 524 h 660"/>
                        <a:gd name="T56" fmla="*/ 12 w 697"/>
                        <a:gd name="T57" fmla="*/ 518 h 660"/>
                        <a:gd name="T58" fmla="*/ 4 w 697"/>
                        <a:gd name="T59" fmla="*/ 584 h 660"/>
                        <a:gd name="T60" fmla="*/ 16 w 697"/>
                        <a:gd name="T61" fmla="*/ 611 h 660"/>
                        <a:gd name="T62" fmla="*/ 75 w 697"/>
                        <a:gd name="T63" fmla="*/ 660 h 660"/>
                        <a:gd name="T64" fmla="*/ 213 w 697"/>
                        <a:gd name="T65" fmla="*/ 653 h 660"/>
                        <a:gd name="T66" fmla="*/ 339 w 697"/>
                        <a:gd name="T67" fmla="*/ 630 h 660"/>
                        <a:gd name="T68" fmla="*/ 477 w 697"/>
                        <a:gd name="T69" fmla="*/ 590 h 660"/>
                        <a:gd name="T70" fmla="*/ 580 w 697"/>
                        <a:gd name="T71" fmla="*/ 581 h 660"/>
                        <a:gd name="T72" fmla="*/ 691 w 697"/>
                        <a:gd name="T73" fmla="*/ 605 h 660"/>
                        <a:gd name="T74" fmla="*/ 637 w 697"/>
                        <a:gd name="T75" fmla="*/ 465 h 660"/>
                        <a:gd name="T76" fmla="*/ 583 w 697"/>
                        <a:gd name="T77" fmla="*/ 387 h 660"/>
                        <a:gd name="T78" fmla="*/ 583 w 697"/>
                        <a:gd name="T79" fmla="*/ 302 h 660"/>
                        <a:gd name="T80" fmla="*/ 612 w 697"/>
                        <a:gd name="T81" fmla="*/ 225 h 660"/>
                        <a:gd name="T82" fmla="*/ 678 w 697"/>
                        <a:gd name="T83" fmla="*/ 93 h 660"/>
                        <a:gd name="T84" fmla="*/ 697 w 697"/>
                        <a:gd name="T85" fmla="*/ 14 h 6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697" h="660">
                          <a:moveTo>
                            <a:pt x="685" y="14"/>
                          </a:moveTo>
                          <a:lnTo>
                            <a:pt x="189" y="0"/>
                          </a:lnTo>
                          <a:lnTo>
                            <a:pt x="154" y="5"/>
                          </a:lnTo>
                          <a:lnTo>
                            <a:pt x="93" y="24"/>
                          </a:lnTo>
                          <a:lnTo>
                            <a:pt x="75" y="41"/>
                          </a:lnTo>
                          <a:lnTo>
                            <a:pt x="69" y="98"/>
                          </a:lnTo>
                          <a:lnTo>
                            <a:pt x="67" y="176"/>
                          </a:lnTo>
                          <a:lnTo>
                            <a:pt x="42" y="222"/>
                          </a:lnTo>
                          <a:lnTo>
                            <a:pt x="21" y="308"/>
                          </a:lnTo>
                          <a:lnTo>
                            <a:pt x="15" y="320"/>
                          </a:lnTo>
                          <a:lnTo>
                            <a:pt x="37" y="332"/>
                          </a:lnTo>
                          <a:lnTo>
                            <a:pt x="28" y="366"/>
                          </a:lnTo>
                          <a:lnTo>
                            <a:pt x="40" y="374"/>
                          </a:lnTo>
                          <a:lnTo>
                            <a:pt x="69" y="353"/>
                          </a:lnTo>
                          <a:lnTo>
                            <a:pt x="133" y="398"/>
                          </a:lnTo>
                          <a:lnTo>
                            <a:pt x="133" y="414"/>
                          </a:lnTo>
                          <a:lnTo>
                            <a:pt x="163" y="392"/>
                          </a:lnTo>
                          <a:lnTo>
                            <a:pt x="171" y="432"/>
                          </a:lnTo>
                          <a:lnTo>
                            <a:pt x="202" y="440"/>
                          </a:lnTo>
                          <a:lnTo>
                            <a:pt x="229" y="413"/>
                          </a:lnTo>
                          <a:lnTo>
                            <a:pt x="249" y="422"/>
                          </a:lnTo>
                          <a:lnTo>
                            <a:pt x="274" y="462"/>
                          </a:lnTo>
                          <a:lnTo>
                            <a:pt x="310" y="479"/>
                          </a:lnTo>
                          <a:lnTo>
                            <a:pt x="333" y="449"/>
                          </a:lnTo>
                          <a:lnTo>
                            <a:pt x="366" y="444"/>
                          </a:lnTo>
                          <a:lnTo>
                            <a:pt x="402" y="459"/>
                          </a:lnTo>
                          <a:lnTo>
                            <a:pt x="438" y="464"/>
                          </a:lnTo>
                          <a:lnTo>
                            <a:pt x="462" y="473"/>
                          </a:lnTo>
                          <a:lnTo>
                            <a:pt x="510" y="473"/>
                          </a:lnTo>
                          <a:lnTo>
                            <a:pt x="532" y="461"/>
                          </a:lnTo>
                          <a:lnTo>
                            <a:pt x="544" y="458"/>
                          </a:lnTo>
                          <a:lnTo>
                            <a:pt x="580" y="446"/>
                          </a:lnTo>
                          <a:lnTo>
                            <a:pt x="594" y="462"/>
                          </a:lnTo>
                          <a:lnTo>
                            <a:pt x="573" y="473"/>
                          </a:lnTo>
                          <a:lnTo>
                            <a:pt x="508" y="491"/>
                          </a:lnTo>
                          <a:lnTo>
                            <a:pt x="445" y="491"/>
                          </a:lnTo>
                          <a:lnTo>
                            <a:pt x="393" y="494"/>
                          </a:lnTo>
                          <a:lnTo>
                            <a:pt x="364" y="494"/>
                          </a:lnTo>
                          <a:lnTo>
                            <a:pt x="346" y="480"/>
                          </a:lnTo>
                          <a:lnTo>
                            <a:pt x="315" y="494"/>
                          </a:lnTo>
                          <a:lnTo>
                            <a:pt x="276" y="492"/>
                          </a:lnTo>
                          <a:lnTo>
                            <a:pt x="250" y="483"/>
                          </a:lnTo>
                          <a:lnTo>
                            <a:pt x="216" y="480"/>
                          </a:lnTo>
                          <a:lnTo>
                            <a:pt x="198" y="489"/>
                          </a:lnTo>
                          <a:lnTo>
                            <a:pt x="180" y="485"/>
                          </a:lnTo>
                          <a:lnTo>
                            <a:pt x="157" y="462"/>
                          </a:lnTo>
                          <a:lnTo>
                            <a:pt x="141" y="443"/>
                          </a:lnTo>
                          <a:lnTo>
                            <a:pt x="129" y="453"/>
                          </a:lnTo>
                          <a:lnTo>
                            <a:pt x="127" y="482"/>
                          </a:lnTo>
                          <a:lnTo>
                            <a:pt x="114" y="495"/>
                          </a:lnTo>
                          <a:lnTo>
                            <a:pt x="99" y="495"/>
                          </a:lnTo>
                          <a:lnTo>
                            <a:pt x="91" y="510"/>
                          </a:lnTo>
                          <a:lnTo>
                            <a:pt x="117" y="542"/>
                          </a:lnTo>
                          <a:lnTo>
                            <a:pt x="100" y="552"/>
                          </a:lnTo>
                          <a:lnTo>
                            <a:pt x="69" y="539"/>
                          </a:lnTo>
                          <a:lnTo>
                            <a:pt x="43" y="524"/>
                          </a:lnTo>
                          <a:lnTo>
                            <a:pt x="36" y="498"/>
                          </a:lnTo>
                          <a:lnTo>
                            <a:pt x="12" y="518"/>
                          </a:lnTo>
                          <a:lnTo>
                            <a:pt x="4" y="557"/>
                          </a:lnTo>
                          <a:lnTo>
                            <a:pt x="4" y="584"/>
                          </a:lnTo>
                          <a:lnTo>
                            <a:pt x="0" y="605"/>
                          </a:lnTo>
                          <a:lnTo>
                            <a:pt x="16" y="611"/>
                          </a:lnTo>
                          <a:lnTo>
                            <a:pt x="39" y="636"/>
                          </a:lnTo>
                          <a:lnTo>
                            <a:pt x="75" y="660"/>
                          </a:lnTo>
                          <a:lnTo>
                            <a:pt x="141" y="654"/>
                          </a:lnTo>
                          <a:lnTo>
                            <a:pt x="213" y="653"/>
                          </a:lnTo>
                          <a:lnTo>
                            <a:pt x="270" y="650"/>
                          </a:lnTo>
                          <a:lnTo>
                            <a:pt x="339" y="630"/>
                          </a:lnTo>
                          <a:lnTo>
                            <a:pt x="424" y="606"/>
                          </a:lnTo>
                          <a:lnTo>
                            <a:pt x="477" y="590"/>
                          </a:lnTo>
                          <a:lnTo>
                            <a:pt x="525" y="582"/>
                          </a:lnTo>
                          <a:lnTo>
                            <a:pt x="580" y="581"/>
                          </a:lnTo>
                          <a:lnTo>
                            <a:pt x="658" y="605"/>
                          </a:lnTo>
                          <a:lnTo>
                            <a:pt x="691" y="605"/>
                          </a:lnTo>
                          <a:lnTo>
                            <a:pt x="672" y="552"/>
                          </a:lnTo>
                          <a:lnTo>
                            <a:pt x="637" y="465"/>
                          </a:lnTo>
                          <a:lnTo>
                            <a:pt x="592" y="440"/>
                          </a:lnTo>
                          <a:lnTo>
                            <a:pt x="583" y="387"/>
                          </a:lnTo>
                          <a:lnTo>
                            <a:pt x="583" y="329"/>
                          </a:lnTo>
                          <a:lnTo>
                            <a:pt x="583" y="302"/>
                          </a:lnTo>
                          <a:lnTo>
                            <a:pt x="613" y="258"/>
                          </a:lnTo>
                          <a:lnTo>
                            <a:pt x="612" y="225"/>
                          </a:lnTo>
                          <a:lnTo>
                            <a:pt x="648" y="152"/>
                          </a:lnTo>
                          <a:lnTo>
                            <a:pt x="678" y="93"/>
                          </a:lnTo>
                          <a:lnTo>
                            <a:pt x="661" y="53"/>
                          </a:lnTo>
                          <a:lnTo>
                            <a:pt x="697" y="14"/>
                          </a:lnTo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lIns="36000" rIns="36000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" name="Freeform 35"/>
                    <p:cNvSpPr>
                      <a:spLocks/>
                    </p:cNvSpPr>
                    <p:nvPr>
                      <p:custDataLst>
                        <p:tags r:id="rId10"/>
                      </p:custDataLst>
                    </p:nvPr>
                  </p:nvSpPr>
                  <p:spPr bwMode="gray">
                    <a:xfrm>
                      <a:off x="3224790" y="3096896"/>
                      <a:ext cx="1280137" cy="1153200"/>
                    </a:xfrm>
                    <a:custGeom>
                      <a:avLst/>
                      <a:gdLst>
                        <a:gd name="T0" fmla="*/ 332 w 932"/>
                        <a:gd name="T1" fmla="*/ 144 h 872"/>
                        <a:gd name="T2" fmla="*/ 230 w 932"/>
                        <a:gd name="T3" fmla="*/ 158 h 872"/>
                        <a:gd name="T4" fmla="*/ 160 w 932"/>
                        <a:gd name="T5" fmla="*/ 190 h 872"/>
                        <a:gd name="T6" fmla="*/ 80 w 932"/>
                        <a:gd name="T7" fmla="*/ 276 h 872"/>
                        <a:gd name="T8" fmla="*/ 54 w 932"/>
                        <a:gd name="T9" fmla="*/ 344 h 872"/>
                        <a:gd name="T10" fmla="*/ 30 w 932"/>
                        <a:gd name="T11" fmla="*/ 464 h 872"/>
                        <a:gd name="T12" fmla="*/ 0 w 932"/>
                        <a:gd name="T13" fmla="*/ 540 h 872"/>
                        <a:gd name="T14" fmla="*/ 38 w 932"/>
                        <a:gd name="T15" fmla="*/ 568 h 872"/>
                        <a:gd name="T16" fmla="*/ 90 w 932"/>
                        <a:gd name="T17" fmla="*/ 636 h 872"/>
                        <a:gd name="T18" fmla="*/ 170 w 932"/>
                        <a:gd name="T19" fmla="*/ 698 h 872"/>
                        <a:gd name="T20" fmla="*/ 148 w 932"/>
                        <a:gd name="T21" fmla="*/ 748 h 872"/>
                        <a:gd name="T22" fmla="*/ 208 w 932"/>
                        <a:gd name="T23" fmla="*/ 816 h 872"/>
                        <a:gd name="T24" fmla="*/ 246 w 932"/>
                        <a:gd name="T25" fmla="*/ 772 h 872"/>
                        <a:gd name="T26" fmla="*/ 312 w 932"/>
                        <a:gd name="T27" fmla="*/ 794 h 872"/>
                        <a:gd name="T28" fmla="*/ 384 w 932"/>
                        <a:gd name="T29" fmla="*/ 810 h 872"/>
                        <a:gd name="T30" fmla="*/ 396 w 932"/>
                        <a:gd name="T31" fmla="*/ 858 h 872"/>
                        <a:gd name="T32" fmla="*/ 466 w 932"/>
                        <a:gd name="T33" fmla="*/ 838 h 872"/>
                        <a:gd name="T34" fmla="*/ 526 w 932"/>
                        <a:gd name="T35" fmla="*/ 848 h 872"/>
                        <a:gd name="T36" fmla="*/ 584 w 932"/>
                        <a:gd name="T37" fmla="*/ 848 h 872"/>
                        <a:gd name="T38" fmla="*/ 706 w 932"/>
                        <a:gd name="T39" fmla="*/ 764 h 872"/>
                        <a:gd name="T40" fmla="*/ 832 w 932"/>
                        <a:gd name="T41" fmla="*/ 628 h 872"/>
                        <a:gd name="T42" fmla="*/ 872 w 932"/>
                        <a:gd name="T43" fmla="*/ 510 h 872"/>
                        <a:gd name="T44" fmla="*/ 900 w 932"/>
                        <a:gd name="T45" fmla="*/ 350 h 872"/>
                        <a:gd name="T46" fmla="*/ 868 w 932"/>
                        <a:gd name="T47" fmla="*/ 302 h 872"/>
                        <a:gd name="T48" fmla="*/ 870 w 932"/>
                        <a:gd name="T49" fmla="*/ 156 h 872"/>
                        <a:gd name="T50" fmla="*/ 916 w 932"/>
                        <a:gd name="T51" fmla="*/ 106 h 872"/>
                        <a:gd name="T52" fmla="*/ 792 w 932"/>
                        <a:gd name="T53" fmla="*/ 72 h 872"/>
                        <a:gd name="T54" fmla="*/ 690 w 932"/>
                        <a:gd name="T55" fmla="*/ 64 h 872"/>
                        <a:gd name="T56" fmla="*/ 618 w 932"/>
                        <a:gd name="T57" fmla="*/ 0 h 872"/>
                        <a:gd name="T58" fmla="*/ 524 w 932"/>
                        <a:gd name="T59" fmla="*/ 62 h 872"/>
                        <a:gd name="T60" fmla="*/ 450 w 932"/>
                        <a:gd name="T61" fmla="*/ 90 h 872"/>
                        <a:gd name="T62" fmla="*/ 358 w 932"/>
                        <a:gd name="T63" fmla="*/ 52 h 8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</a:cxnLst>
                      <a:rect l="0" t="0" r="r" b="b"/>
                      <a:pathLst>
                        <a:path w="932" h="872">
                          <a:moveTo>
                            <a:pt x="358" y="52"/>
                          </a:moveTo>
                          <a:lnTo>
                            <a:pt x="332" y="144"/>
                          </a:lnTo>
                          <a:lnTo>
                            <a:pt x="290" y="158"/>
                          </a:lnTo>
                          <a:lnTo>
                            <a:pt x="230" y="158"/>
                          </a:lnTo>
                          <a:lnTo>
                            <a:pt x="196" y="160"/>
                          </a:lnTo>
                          <a:lnTo>
                            <a:pt x="160" y="190"/>
                          </a:lnTo>
                          <a:lnTo>
                            <a:pt x="112" y="236"/>
                          </a:lnTo>
                          <a:lnTo>
                            <a:pt x="80" y="276"/>
                          </a:lnTo>
                          <a:lnTo>
                            <a:pt x="62" y="290"/>
                          </a:lnTo>
                          <a:lnTo>
                            <a:pt x="54" y="344"/>
                          </a:lnTo>
                          <a:lnTo>
                            <a:pt x="54" y="396"/>
                          </a:lnTo>
                          <a:lnTo>
                            <a:pt x="30" y="464"/>
                          </a:lnTo>
                          <a:lnTo>
                            <a:pt x="4" y="514"/>
                          </a:lnTo>
                          <a:lnTo>
                            <a:pt x="0" y="540"/>
                          </a:lnTo>
                          <a:lnTo>
                            <a:pt x="26" y="542"/>
                          </a:lnTo>
                          <a:lnTo>
                            <a:pt x="38" y="568"/>
                          </a:lnTo>
                          <a:lnTo>
                            <a:pt x="88" y="580"/>
                          </a:lnTo>
                          <a:lnTo>
                            <a:pt x="90" y="636"/>
                          </a:lnTo>
                          <a:lnTo>
                            <a:pt x="150" y="670"/>
                          </a:lnTo>
                          <a:lnTo>
                            <a:pt x="170" y="698"/>
                          </a:lnTo>
                          <a:lnTo>
                            <a:pt x="166" y="732"/>
                          </a:lnTo>
                          <a:lnTo>
                            <a:pt x="148" y="748"/>
                          </a:lnTo>
                          <a:lnTo>
                            <a:pt x="174" y="788"/>
                          </a:lnTo>
                          <a:lnTo>
                            <a:pt x="208" y="816"/>
                          </a:lnTo>
                          <a:lnTo>
                            <a:pt x="232" y="796"/>
                          </a:lnTo>
                          <a:lnTo>
                            <a:pt x="246" y="772"/>
                          </a:lnTo>
                          <a:lnTo>
                            <a:pt x="280" y="780"/>
                          </a:lnTo>
                          <a:lnTo>
                            <a:pt x="312" y="794"/>
                          </a:lnTo>
                          <a:lnTo>
                            <a:pt x="346" y="792"/>
                          </a:lnTo>
                          <a:lnTo>
                            <a:pt x="384" y="810"/>
                          </a:lnTo>
                          <a:lnTo>
                            <a:pt x="390" y="842"/>
                          </a:lnTo>
                          <a:lnTo>
                            <a:pt x="396" y="858"/>
                          </a:lnTo>
                          <a:lnTo>
                            <a:pt x="434" y="846"/>
                          </a:lnTo>
                          <a:lnTo>
                            <a:pt x="466" y="838"/>
                          </a:lnTo>
                          <a:lnTo>
                            <a:pt x="482" y="840"/>
                          </a:lnTo>
                          <a:lnTo>
                            <a:pt x="526" y="848"/>
                          </a:lnTo>
                          <a:lnTo>
                            <a:pt x="584" y="872"/>
                          </a:lnTo>
                          <a:lnTo>
                            <a:pt x="584" y="848"/>
                          </a:lnTo>
                          <a:lnTo>
                            <a:pt x="614" y="806"/>
                          </a:lnTo>
                          <a:lnTo>
                            <a:pt x="706" y="764"/>
                          </a:lnTo>
                          <a:lnTo>
                            <a:pt x="778" y="716"/>
                          </a:lnTo>
                          <a:lnTo>
                            <a:pt x="832" y="628"/>
                          </a:lnTo>
                          <a:lnTo>
                            <a:pt x="872" y="548"/>
                          </a:lnTo>
                          <a:lnTo>
                            <a:pt x="872" y="510"/>
                          </a:lnTo>
                          <a:lnTo>
                            <a:pt x="864" y="452"/>
                          </a:lnTo>
                          <a:lnTo>
                            <a:pt x="900" y="350"/>
                          </a:lnTo>
                          <a:lnTo>
                            <a:pt x="872" y="332"/>
                          </a:lnTo>
                          <a:lnTo>
                            <a:pt x="868" y="302"/>
                          </a:lnTo>
                          <a:lnTo>
                            <a:pt x="880" y="224"/>
                          </a:lnTo>
                          <a:lnTo>
                            <a:pt x="870" y="156"/>
                          </a:lnTo>
                          <a:lnTo>
                            <a:pt x="932" y="130"/>
                          </a:lnTo>
                          <a:lnTo>
                            <a:pt x="916" y="106"/>
                          </a:lnTo>
                          <a:lnTo>
                            <a:pt x="882" y="90"/>
                          </a:lnTo>
                          <a:lnTo>
                            <a:pt x="792" y="72"/>
                          </a:lnTo>
                          <a:lnTo>
                            <a:pt x="714" y="68"/>
                          </a:lnTo>
                          <a:lnTo>
                            <a:pt x="690" y="64"/>
                          </a:lnTo>
                          <a:lnTo>
                            <a:pt x="654" y="40"/>
                          </a:lnTo>
                          <a:lnTo>
                            <a:pt x="618" y="0"/>
                          </a:lnTo>
                          <a:lnTo>
                            <a:pt x="564" y="14"/>
                          </a:lnTo>
                          <a:lnTo>
                            <a:pt x="524" y="62"/>
                          </a:lnTo>
                          <a:lnTo>
                            <a:pt x="480" y="92"/>
                          </a:lnTo>
                          <a:lnTo>
                            <a:pt x="450" y="90"/>
                          </a:lnTo>
                          <a:lnTo>
                            <a:pt x="400" y="68"/>
                          </a:lnTo>
                          <a:lnTo>
                            <a:pt x="358" y="52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" name="Freeform 36"/>
                    <p:cNvSpPr>
                      <a:spLocks/>
                    </p:cNvSpPr>
                    <p:nvPr>
                      <p:custDataLst>
                        <p:tags r:id="rId11"/>
                      </p:custDataLst>
                    </p:nvPr>
                  </p:nvSpPr>
                  <p:spPr bwMode="gray">
                    <a:xfrm>
                      <a:off x="2696514" y="3543283"/>
                      <a:ext cx="1082444" cy="847333"/>
                    </a:xfrm>
                    <a:custGeom>
                      <a:avLst/>
                      <a:gdLst>
                        <a:gd name="T0" fmla="*/ 754 w 788"/>
                        <a:gd name="T1" fmla="*/ 518 h 644"/>
                        <a:gd name="T2" fmla="*/ 652 w 788"/>
                        <a:gd name="T3" fmla="*/ 504 h 644"/>
                        <a:gd name="T4" fmla="*/ 592 w 788"/>
                        <a:gd name="T5" fmla="*/ 546 h 644"/>
                        <a:gd name="T6" fmla="*/ 552 w 788"/>
                        <a:gd name="T7" fmla="*/ 604 h 644"/>
                        <a:gd name="T8" fmla="*/ 472 w 788"/>
                        <a:gd name="T9" fmla="*/ 644 h 644"/>
                        <a:gd name="T10" fmla="*/ 226 w 788"/>
                        <a:gd name="T11" fmla="*/ 636 h 644"/>
                        <a:gd name="T12" fmla="*/ 208 w 788"/>
                        <a:gd name="T13" fmla="*/ 606 h 644"/>
                        <a:gd name="T14" fmla="*/ 174 w 788"/>
                        <a:gd name="T15" fmla="*/ 566 h 644"/>
                        <a:gd name="T16" fmla="*/ 146 w 788"/>
                        <a:gd name="T17" fmla="*/ 522 h 644"/>
                        <a:gd name="T18" fmla="*/ 120 w 788"/>
                        <a:gd name="T19" fmla="*/ 482 h 644"/>
                        <a:gd name="T20" fmla="*/ 104 w 788"/>
                        <a:gd name="T21" fmla="*/ 436 h 644"/>
                        <a:gd name="T22" fmla="*/ 132 w 788"/>
                        <a:gd name="T23" fmla="*/ 384 h 644"/>
                        <a:gd name="T24" fmla="*/ 122 w 788"/>
                        <a:gd name="T25" fmla="*/ 318 h 644"/>
                        <a:gd name="T26" fmla="*/ 110 w 788"/>
                        <a:gd name="T27" fmla="*/ 230 h 644"/>
                        <a:gd name="T28" fmla="*/ 76 w 788"/>
                        <a:gd name="T29" fmla="*/ 190 h 644"/>
                        <a:gd name="T30" fmla="*/ 88 w 788"/>
                        <a:gd name="T31" fmla="*/ 154 h 644"/>
                        <a:gd name="T32" fmla="*/ 76 w 788"/>
                        <a:gd name="T33" fmla="*/ 134 h 644"/>
                        <a:gd name="T34" fmla="*/ 14 w 788"/>
                        <a:gd name="T35" fmla="*/ 150 h 644"/>
                        <a:gd name="T36" fmla="*/ 20 w 788"/>
                        <a:gd name="T37" fmla="*/ 106 h 644"/>
                        <a:gd name="T38" fmla="*/ 56 w 788"/>
                        <a:gd name="T39" fmla="*/ 38 h 644"/>
                        <a:gd name="T40" fmla="*/ 182 w 788"/>
                        <a:gd name="T41" fmla="*/ 0 h 644"/>
                        <a:gd name="T42" fmla="*/ 188 w 788"/>
                        <a:gd name="T43" fmla="*/ 48 h 644"/>
                        <a:gd name="T44" fmla="*/ 188 w 788"/>
                        <a:gd name="T45" fmla="*/ 132 h 644"/>
                        <a:gd name="T46" fmla="*/ 258 w 788"/>
                        <a:gd name="T47" fmla="*/ 210 h 644"/>
                        <a:gd name="T48" fmla="*/ 354 w 788"/>
                        <a:gd name="T49" fmla="*/ 206 h 644"/>
                        <a:gd name="T50" fmla="*/ 412 w 788"/>
                        <a:gd name="T51" fmla="*/ 202 h 644"/>
                        <a:gd name="T52" fmla="*/ 484 w 788"/>
                        <a:gd name="T53" fmla="*/ 240 h 644"/>
                        <a:gd name="T54" fmla="*/ 514 w 788"/>
                        <a:gd name="T55" fmla="*/ 312 h 644"/>
                        <a:gd name="T56" fmla="*/ 558 w 788"/>
                        <a:gd name="T57" fmla="*/ 374 h 644"/>
                        <a:gd name="T58" fmla="*/ 552 w 788"/>
                        <a:gd name="T59" fmla="*/ 426 h 644"/>
                        <a:gd name="T60" fmla="*/ 608 w 788"/>
                        <a:gd name="T61" fmla="*/ 478 h 644"/>
                        <a:gd name="T62" fmla="*/ 660 w 788"/>
                        <a:gd name="T63" fmla="*/ 430 h 644"/>
                        <a:gd name="T64" fmla="*/ 750 w 788"/>
                        <a:gd name="T65" fmla="*/ 456 h 644"/>
                        <a:gd name="T66" fmla="*/ 788 w 788"/>
                        <a:gd name="T67" fmla="*/ 520 h 6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88" h="644">
                          <a:moveTo>
                            <a:pt x="788" y="520"/>
                          </a:moveTo>
                          <a:lnTo>
                            <a:pt x="754" y="518"/>
                          </a:lnTo>
                          <a:lnTo>
                            <a:pt x="698" y="508"/>
                          </a:lnTo>
                          <a:lnTo>
                            <a:pt x="652" y="504"/>
                          </a:lnTo>
                          <a:lnTo>
                            <a:pt x="622" y="508"/>
                          </a:lnTo>
                          <a:lnTo>
                            <a:pt x="592" y="546"/>
                          </a:lnTo>
                          <a:lnTo>
                            <a:pt x="574" y="560"/>
                          </a:lnTo>
                          <a:lnTo>
                            <a:pt x="552" y="604"/>
                          </a:lnTo>
                          <a:lnTo>
                            <a:pt x="530" y="644"/>
                          </a:lnTo>
                          <a:lnTo>
                            <a:pt x="472" y="644"/>
                          </a:lnTo>
                          <a:lnTo>
                            <a:pt x="382" y="642"/>
                          </a:lnTo>
                          <a:lnTo>
                            <a:pt x="226" y="636"/>
                          </a:lnTo>
                          <a:lnTo>
                            <a:pt x="220" y="620"/>
                          </a:lnTo>
                          <a:lnTo>
                            <a:pt x="208" y="606"/>
                          </a:lnTo>
                          <a:lnTo>
                            <a:pt x="182" y="580"/>
                          </a:lnTo>
                          <a:lnTo>
                            <a:pt x="174" y="566"/>
                          </a:lnTo>
                          <a:lnTo>
                            <a:pt x="158" y="548"/>
                          </a:lnTo>
                          <a:lnTo>
                            <a:pt x="146" y="522"/>
                          </a:lnTo>
                          <a:lnTo>
                            <a:pt x="136" y="500"/>
                          </a:lnTo>
                          <a:lnTo>
                            <a:pt x="120" y="482"/>
                          </a:lnTo>
                          <a:lnTo>
                            <a:pt x="104" y="466"/>
                          </a:lnTo>
                          <a:lnTo>
                            <a:pt x="104" y="436"/>
                          </a:lnTo>
                          <a:lnTo>
                            <a:pt x="122" y="414"/>
                          </a:lnTo>
                          <a:lnTo>
                            <a:pt x="132" y="384"/>
                          </a:lnTo>
                          <a:lnTo>
                            <a:pt x="134" y="358"/>
                          </a:lnTo>
                          <a:lnTo>
                            <a:pt x="122" y="318"/>
                          </a:lnTo>
                          <a:lnTo>
                            <a:pt x="102" y="280"/>
                          </a:lnTo>
                          <a:lnTo>
                            <a:pt x="110" y="230"/>
                          </a:lnTo>
                          <a:lnTo>
                            <a:pt x="102" y="206"/>
                          </a:lnTo>
                          <a:lnTo>
                            <a:pt x="76" y="190"/>
                          </a:lnTo>
                          <a:lnTo>
                            <a:pt x="52" y="166"/>
                          </a:lnTo>
                          <a:lnTo>
                            <a:pt x="88" y="154"/>
                          </a:lnTo>
                          <a:lnTo>
                            <a:pt x="100" y="152"/>
                          </a:lnTo>
                          <a:lnTo>
                            <a:pt x="76" y="134"/>
                          </a:lnTo>
                          <a:lnTo>
                            <a:pt x="52" y="132"/>
                          </a:lnTo>
                          <a:lnTo>
                            <a:pt x="14" y="150"/>
                          </a:lnTo>
                          <a:lnTo>
                            <a:pt x="0" y="156"/>
                          </a:lnTo>
                          <a:lnTo>
                            <a:pt x="20" y="106"/>
                          </a:lnTo>
                          <a:lnTo>
                            <a:pt x="36" y="84"/>
                          </a:lnTo>
                          <a:lnTo>
                            <a:pt x="56" y="38"/>
                          </a:lnTo>
                          <a:lnTo>
                            <a:pt x="102" y="18"/>
                          </a:lnTo>
                          <a:lnTo>
                            <a:pt x="182" y="0"/>
                          </a:lnTo>
                          <a:lnTo>
                            <a:pt x="208" y="6"/>
                          </a:lnTo>
                          <a:lnTo>
                            <a:pt x="188" y="48"/>
                          </a:lnTo>
                          <a:lnTo>
                            <a:pt x="180" y="94"/>
                          </a:lnTo>
                          <a:lnTo>
                            <a:pt x="188" y="132"/>
                          </a:lnTo>
                          <a:lnTo>
                            <a:pt x="224" y="174"/>
                          </a:lnTo>
                          <a:lnTo>
                            <a:pt x="258" y="210"/>
                          </a:lnTo>
                          <a:lnTo>
                            <a:pt x="318" y="222"/>
                          </a:lnTo>
                          <a:lnTo>
                            <a:pt x="354" y="206"/>
                          </a:lnTo>
                          <a:lnTo>
                            <a:pt x="382" y="198"/>
                          </a:lnTo>
                          <a:lnTo>
                            <a:pt x="412" y="202"/>
                          </a:lnTo>
                          <a:lnTo>
                            <a:pt x="428" y="222"/>
                          </a:lnTo>
                          <a:lnTo>
                            <a:pt x="484" y="240"/>
                          </a:lnTo>
                          <a:lnTo>
                            <a:pt x="486" y="296"/>
                          </a:lnTo>
                          <a:lnTo>
                            <a:pt x="514" y="312"/>
                          </a:lnTo>
                          <a:lnTo>
                            <a:pt x="550" y="336"/>
                          </a:lnTo>
                          <a:lnTo>
                            <a:pt x="558" y="374"/>
                          </a:lnTo>
                          <a:lnTo>
                            <a:pt x="548" y="402"/>
                          </a:lnTo>
                          <a:lnTo>
                            <a:pt x="552" y="426"/>
                          </a:lnTo>
                          <a:lnTo>
                            <a:pt x="590" y="470"/>
                          </a:lnTo>
                          <a:lnTo>
                            <a:pt x="608" y="478"/>
                          </a:lnTo>
                          <a:lnTo>
                            <a:pt x="636" y="440"/>
                          </a:lnTo>
                          <a:lnTo>
                            <a:pt x="660" y="430"/>
                          </a:lnTo>
                          <a:lnTo>
                            <a:pt x="694" y="454"/>
                          </a:lnTo>
                          <a:lnTo>
                            <a:pt x="750" y="456"/>
                          </a:lnTo>
                          <a:lnTo>
                            <a:pt x="776" y="474"/>
                          </a:lnTo>
                          <a:lnTo>
                            <a:pt x="788" y="520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" name="Freeform 37"/>
                    <p:cNvSpPr>
                      <a:spLocks/>
                    </p:cNvSpPr>
                    <p:nvPr>
                      <p:custDataLst>
                        <p:tags r:id="rId12"/>
                      </p:custDataLst>
                    </p:nvPr>
                  </p:nvSpPr>
                  <p:spPr bwMode="gray">
                    <a:xfrm>
                      <a:off x="2202132" y="2956376"/>
                      <a:ext cx="1530126" cy="1421780"/>
                    </a:xfrm>
                    <a:custGeom>
                      <a:avLst/>
                      <a:gdLst>
                        <a:gd name="T0" fmla="*/ 50 w 1114"/>
                        <a:gd name="T1" fmla="*/ 614 h 1092"/>
                        <a:gd name="T2" fmla="*/ 50 w 1114"/>
                        <a:gd name="T3" fmla="*/ 534 h 1092"/>
                        <a:gd name="T4" fmla="*/ 62 w 1114"/>
                        <a:gd name="T5" fmla="*/ 470 h 1092"/>
                        <a:gd name="T6" fmla="*/ 92 w 1114"/>
                        <a:gd name="T7" fmla="*/ 356 h 1092"/>
                        <a:gd name="T8" fmla="*/ 182 w 1114"/>
                        <a:gd name="T9" fmla="*/ 278 h 1092"/>
                        <a:gd name="T10" fmla="*/ 258 w 1114"/>
                        <a:gd name="T11" fmla="*/ 250 h 1092"/>
                        <a:gd name="T12" fmla="*/ 442 w 1114"/>
                        <a:gd name="T13" fmla="*/ 272 h 1092"/>
                        <a:gd name="T14" fmla="*/ 618 w 1114"/>
                        <a:gd name="T15" fmla="*/ 294 h 1092"/>
                        <a:gd name="T16" fmla="*/ 766 w 1114"/>
                        <a:gd name="T17" fmla="*/ 262 h 1092"/>
                        <a:gd name="T18" fmla="*/ 844 w 1114"/>
                        <a:gd name="T19" fmla="*/ 110 h 1092"/>
                        <a:gd name="T20" fmla="*/ 910 w 1114"/>
                        <a:gd name="T21" fmla="*/ 0 h 1092"/>
                        <a:gd name="T22" fmla="*/ 986 w 1114"/>
                        <a:gd name="T23" fmla="*/ 28 h 1092"/>
                        <a:gd name="T24" fmla="*/ 1052 w 1114"/>
                        <a:gd name="T25" fmla="*/ 64 h 1092"/>
                        <a:gd name="T26" fmla="*/ 1078 w 1114"/>
                        <a:gd name="T27" fmla="*/ 120 h 1092"/>
                        <a:gd name="T28" fmla="*/ 1092 w 1114"/>
                        <a:gd name="T29" fmla="*/ 220 h 1092"/>
                        <a:gd name="T30" fmla="*/ 1068 w 1114"/>
                        <a:gd name="T31" fmla="*/ 264 h 1092"/>
                        <a:gd name="T32" fmla="*/ 1000 w 1114"/>
                        <a:gd name="T33" fmla="*/ 270 h 1092"/>
                        <a:gd name="T34" fmla="*/ 940 w 1114"/>
                        <a:gd name="T35" fmla="*/ 278 h 1092"/>
                        <a:gd name="T36" fmla="*/ 810 w 1114"/>
                        <a:gd name="T37" fmla="*/ 414 h 1092"/>
                        <a:gd name="T38" fmla="*/ 800 w 1114"/>
                        <a:gd name="T39" fmla="*/ 536 h 1092"/>
                        <a:gd name="T40" fmla="*/ 748 w 1114"/>
                        <a:gd name="T41" fmla="*/ 652 h 1092"/>
                        <a:gd name="T42" fmla="*/ 660 w 1114"/>
                        <a:gd name="T43" fmla="*/ 678 h 1092"/>
                        <a:gd name="T44" fmla="*/ 618 w 1114"/>
                        <a:gd name="T45" fmla="*/ 658 h 1092"/>
                        <a:gd name="T46" fmla="*/ 566 w 1114"/>
                        <a:gd name="T47" fmla="*/ 610 h 1092"/>
                        <a:gd name="T48" fmla="*/ 544 w 1114"/>
                        <a:gd name="T49" fmla="*/ 548 h 1092"/>
                        <a:gd name="T50" fmla="*/ 560 w 1114"/>
                        <a:gd name="T51" fmla="*/ 480 h 1092"/>
                        <a:gd name="T52" fmla="*/ 548 w 1114"/>
                        <a:gd name="T53" fmla="*/ 452 h 1092"/>
                        <a:gd name="T54" fmla="*/ 446 w 1114"/>
                        <a:gd name="T55" fmla="*/ 482 h 1092"/>
                        <a:gd name="T56" fmla="*/ 404 w 1114"/>
                        <a:gd name="T57" fmla="*/ 518 h 1092"/>
                        <a:gd name="T58" fmla="*/ 364 w 1114"/>
                        <a:gd name="T59" fmla="*/ 578 h 1092"/>
                        <a:gd name="T60" fmla="*/ 384 w 1114"/>
                        <a:gd name="T61" fmla="*/ 602 h 1092"/>
                        <a:gd name="T62" fmla="*/ 432 w 1114"/>
                        <a:gd name="T63" fmla="*/ 592 h 1092"/>
                        <a:gd name="T64" fmla="*/ 430 w 1114"/>
                        <a:gd name="T65" fmla="*/ 614 h 1092"/>
                        <a:gd name="T66" fmla="*/ 432 w 1114"/>
                        <a:gd name="T67" fmla="*/ 638 h 1092"/>
                        <a:gd name="T68" fmla="*/ 466 w 1114"/>
                        <a:gd name="T69" fmla="*/ 700 h 1092"/>
                        <a:gd name="T70" fmla="*/ 472 w 1114"/>
                        <a:gd name="T71" fmla="*/ 734 h 1092"/>
                        <a:gd name="T72" fmla="*/ 490 w 1114"/>
                        <a:gd name="T73" fmla="*/ 816 h 1092"/>
                        <a:gd name="T74" fmla="*/ 462 w 1114"/>
                        <a:gd name="T75" fmla="*/ 904 h 1092"/>
                        <a:gd name="T76" fmla="*/ 492 w 1114"/>
                        <a:gd name="T77" fmla="*/ 964 h 1092"/>
                        <a:gd name="T78" fmla="*/ 554 w 1114"/>
                        <a:gd name="T79" fmla="*/ 1052 h 1092"/>
                        <a:gd name="T80" fmla="*/ 518 w 1114"/>
                        <a:gd name="T81" fmla="*/ 1092 h 1092"/>
                        <a:gd name="T82" fmla="*/ 258 w 1114"/>
                        <a:gd name="T83" fmla="*/ 1082 h 1092"/>
                        <a:gd name="T84" fmla="*/ 144 w 1114"/>
                        <a:gd name="T85" fmla="*/ 1044 h 1092"/>
                        <a:gd name="T86" fmla="*/ 108 w 1114"/>
                        <a:gd name="T87" fmla="*/ 1008 h 1092"/>
                        <a:gd name="T88" fmla="*/ 88 w 1114"/>
                        <a:gd name="T89" fmla="*/ 960 h 1092"/>
                        <a:gd name="T90" fmla="*/ 112 w 1114"/>
                        <a:gd name="T91" fmla="*/ 884 h 1092"/>
                        <a:gd name="T92" fmla="*/ 194 w 1114"/>
                        <a:gd name="T93" fmla="*/ 858 h 1092"/>
                        <a:gd name="T94" fmla="*/ 232 w 1114"/>
                        <a:gd name="T95" fmla="*/ 818 h 1092"/>
                        <a:gd name="T96" fmla="*/ 230 w 1114"/>
                        <a:gd name="T97" fmla="*/ 770 h 1092"/>
                        <a:gd name="T98" fmla="*/ 204 w 1114"/>
                        <a:gd name="T99" fmla="*/ 742 h 1092"/>
                        <a:gd name="T100" fmla="*/ 168 w 1114"/>
                        <a:gd name="T101" fmla="*/ 734 h 1092"/>
                        <a:gd name="T102" fmla="*/ 178 w 1114"/>
                        <a:gd name="T103" fmla="*/ 678 h 1092"/>
                        <a:gd name="T104" fmla="*/ 212 w 1114"/>
                        <a:gd name="T105" fmla="*/ 622 h 1092"/>
                        <a:gd name="T106" fmla="*/ 298 w 1114"/>
                        <a:gd name="T107" fmla="*/ 630 h 1092"/>
                        <a:gd name="T108" fmla="*/ 360 w 1114"/>
                        <a:gd name="T109" fmla="*/ 646 h 1092"/>
                        <a:gd name="T110" fmla="*/ 350 w 1114"/>
                        <a:gd name="T111" fmla="*/ 622 h 1092"/>
                        <a:gd name="T112" fmla="*/ 286 w 1114"/>
                        <a:gd name="T113" fmla="*/ 600 h 1092"/>
                        <a:gd name="T114" fmla="*/ 194 w 1114"/>
                        <a:gd name="T115" fmla="*/ 600 h 1092"/>
                        <a:gd name="T116" fmla="*/ 154 w 1114"/>
                        <a:gd name="T117" fmla="*/ 660 h 1092"/>
                        <a:gd name="T118" fmla="*/ 122 w 1114"/>
                        <a:gd name="T119" fmla="*/ 720 h 1092"/>
                        <a:gd name="T120" fmla="*/ 94 w 1114"/>
                        <a:gd name="T121" fmla="*/ 700 h 1092"/>
                        <a:gd name="T122" fmla="*/ 10 w 1114"/>
                        <a:gd name="T123" fmla="*/ 648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1114" h="1092">
                          <a:moveTo>
                            <a:pt x="0" y="632"/>
                          </a:moveTo>
                          <a:lnTo>
                            <a:pt x="50" y="614"/>
                          </a:lnTo>
                          <a:lnTo>
                            <a:pt x="62" y="572"/>
                          </a:lnTo>
                          <a:lnTo>
                            <a:pt x="50" y="534"/>
                          </a:lnTo>
                          <a:lnTo>
                            <a:pt x="48" y="516"/>
                          </a:lnTo>
                          <a:lnTo>
                            <a:pt x="62" y="470"/>
                          </a:lnTo>
                          <a:lnTo>
                            <a:pt x="74" y="414"/>
                          </a:lnTo>
                          <a:lnTo>
                            <a:pt x="92" y="356"/>
                          </a:lnTo>
                          <a:lnTo>
                            <a:pt x="138" y="318"/>
                          </a:lnTo>
                          <a:lnTo>
                            <a:pt x="182" y="278"/>
                          </a:lnTo>
                          <a:lnTo>
                            <a:pt x="202" y="258"/>
                          </a:lnTo>
                          <a:lnTo>
                            <a:pt x="258" y="250"/>
                          </a:lnTo>
                          <a:lnTo>
                            <a:pt x="350" y="260"/>
                          </a:lnTo>
                          <a:lnTo>
                            <a:pt x="442" y="272"/>
                          </a:lnTo>
                          <a:lnTo>
                            <a:pt x="524" y="288"/>
                          </a:lnTo>
                          <a:lnTo>
                            <a:pt x="618" y="294"/>
                          </a:lnTo>
                          <a:lnTo>
                            <a:pt x="680" y="294"/>
                          </a:lnTo>
                          <a:lnTo>
                            <a:pt x="766" y="262"/>
                          </a:lnTo>
                          <a:lnTo>
                            <a:pt x="818" y="196"/>
                          </a:lnTo>
                          <a:lnTo>
                            <a:pt x="844" y="110"/>
                          </a:lnTo>
                          <a:lnTo>
                            <a:pt x="876" y="18"/>
                          </a:lnTo>
                          <a:lnTo>
                            <a:pt x="910" y="0"/>
                          </a:lnTo>
                          <a:lnTo>
                            <a:pt x="958" y="0"/>
                          </a:lnTo>
                          <a:lnTo>
                            <a:pt x="986" y="28"/>
                          </a:lnTo>
                          <a:lnTo>
                            <a:pt x="1044" y="16"/>
                          </a:lnTo>
                          <a:lnTo>
                            <a:pt x="1052" y="64"/>
                          </a:lnTo>
                          <a:lnTo>
                            <a:pt x="1054" y="90"/>
                          </a:lnTo>
                          <a:lnTo>
                            <a:pt x="1078" y="120"/>
                          </a:lnTo>
                          <a:lnTo>
                            <a:pt x="1114" y="152"/>
                          </a:lnTo>
                          <a:lnTo>
                            <a:pt x="1092" y="220"/>
                          </a:lnTo>
                          <a:lnTo>
                            <a:pt x="1080" y="252"/>
                          </a:lnTo>
                          <a:lnTo>
                            <a:pt x="1068" y="264"/>
                          </a:lnTo>
                          <a:lnTo>
                            <a:pt x="1034" y="264"/>
                          </a:lnTo>
                          <a:lnTo>
                            <a:pt x="1000" y="270"/>
                          </a:lnTo>
                          <a:lnTo>
                            <a:pt x="960" y="270"/>
                          </a:lnTo>
                          <a:lnTo>
                            <a:pt x="940" y="278"/>
                          </a:lnTo>
                          <a:lnTo>
                            <a:pt x="890" y="318"/>
                          </a:lnTo>
                          <a:lnTo>
                            <a:pt x="810" y="414"/>
                          </a:lnTo>
                          <a:lnTo>
                            <a:pt x="806" y="478"/>
                          </a:lnTo>
                          <a:lnTo>
                            <a:pt x="800" y="536"/>
                          </a:lnTo>
                          <a:lnTo>
                            <a:pt x="754" y="638"/>
                          </a:lnTo>
                          <a:lnTo>
                            <a:pt x="748" y="652"/>
                          </a:lnTo>
                          <a:lnTo>
                            <a:pt x="704" y="666"/>
                          </a:lnTo>
                          <a:lnTo>
                            <a:pt x="660" y="678"/>
                          </a:lnTo>
                          <a:lnTo>
                            <a:pt x="634" y="670"/>
                          </a:lnTo>
                          <a:lnTo>
                            <a:pt x="618" y="658"/>
                          </a:lnTo>
                          <a:lnTo>
                            <a:pt x="590" y="640"/>
                          </a:lnTo>
                          <a:lnTo>
                            <a:pt x="566" y="610"/>
                          </a:lnTo>
                          <a:lnTo>
                            <a:pt x="552" y="586"/>
                          </a:lnTo>
                          <a:lnTo>
                            <a:pt x="544" y="548"/>
                          </a:lnTo>
                          <a:lnTo>
                            <a:pt x="542" y="512"/>
                          </a:lnTo>
                          <a:lnTo>
                            <a:pt x="560" y="480"/>
                          </a:lnTo>
                          <a:lnTo>
                            <a:pt x="570" y="456"/>
                          </a:lnTo>
                          <a:lnTo>
                            <a:pt x="548" y="452"/>
                          </a:lnTo>
                          <a:lnTo>
                            <a:pt x="498" y="464"/>
                          </a:lnTo>
                          <a:lnTo>
                            <a:pt x="446" y="482"/>
                          </a:lnTo>
                          <a:lnTo>
                            <a:pt x="420" y="482"/>
                          </a:lnTo>
                          <a:lnTo>
                            <a:pt x="404" y="518"/>
                          </a:lnTo>
                          <a:lnTo>
                            <a:pt x="384" y="550"/>
                          </a:lnTo>
                          <a:lnTo>
                            <a:pt x="364" y="578"/>
                          </a:lnTo>
                          <a:lnTo>
                            <a:pt x="354" y="608"/>
                          </a:lnTo>
                          <a:lnTo>
                            <a:pt x="384" y="602"/>
                          </a:lnTo>
                          <a:lnTo>
                            <a:pt x="408" y="590"/>
                          </a:lnTo>
                          <a:lnTo>
                            <a:pt x="432" y="592"/>
                          </a:lnTo>
                          <a:lnTo>
                            <a:pt x="462" y="606"/>
                          </a:lnTo>
                          <a:lnTo>
                            <a:pt x="430" y="614"/>
                          </a:lnTo>
                          <a:lnTo>
                            <a:pt x="418" y="616"/>
                          </a:lnTo>
                          <a:lnTo>
                            <a:pt x="432" y="638"/>
                          </a:lnTo>
                          <a:lnTo>
                            <a:pt x="462" y="658"/>
                          </a:lnTo>
                          <a:lnTo>
                            <a:pt x="466" y="700"/>
                          </a:lnTo>
                          <a:lnTo>
                            <a:pt x="466" y="714"/>
                          </a:lnTo>
                          <a:lnTo>
                            <a:pt x="472" y="734"/>
                          </a:lnTo>
                          <a:lnTo>
                            <a:pt x="478" y="772"/>
                          </a:lnTo>
                          <a:lnTo>
                            <a:pt x="490" y="816"/>
                          </a:lnTo>
                          <a:lnTo>
                            <a:pt x="482" y="854"/>
                          </a:lnTo>
                          <a:lnTo>
                            <a:pt x="462" y="904"/>
                          </a:lnTo>
                          <a:lnTo>
                            <a:pt x="472" y="928"/>
                          </a:lnTo>
                          <a:lnTo>
                            <a:pt x="492" y="964"/>
                          </a:lnTo>
                          <a:lnTo>
                            <a:pt x="518" y="996"/>
                          </a:lnTo>
                          <a:lnTo>
                            <a:pt x="554" y="1052"/>
                          </a:lnTo>
                          <a:lnTo>
                            <a:pt x="588" y="1092"/>
                          </a:lnTo>
                          <a:lnTo>
                            <a:pt x="518" y="1092"/>
                          </a:lnTo>
                          <a:lnTo>
                            <a:pt x="422" y="1086"/>
                          </a:lnTo>
                          <a:lnTo>
                            <a:pt x="258" y="1082"/>
                          </a:lnTo>
                          <a:lnTo>
                            <a:pt x="154" y="1076"/>
                          </a:lnTo>
                          <a:lnTo>
                            <a:pt x="144" y="1044"/>
                          </a:lnTo>
                          <a:lnTo>
                            <a:pt x="132" y="1012"/>
                          </a:lnTo>
                          <a:lnTo>
                            <a:pt x="108" y="1008"/>
                          </a:lnTo>
                          <a:lnTo>
                            <a:pt x="92" y="994"/>
                          </a:lnTo>
                          <a:lnTo>
                            <a:pt x="88" y="960"/>
                          </a:lnTo>
                          <a:lnTo>
                            <a:pt x="96" y="912"/>
                          </a:lnTo>
                          <a:lnTo>
                            <a:pt x="112" y="884"/>
                          </a:lnTo>
                          <a:lnTo>
                            <a:pt x="146" y="872"/>
                          </a:lnTo>
                          <a:lnTo>
                            <a:pt x="194" y="858"/>
                          </a:lnTo>
                          <a:lnTo>
                            <a:pt x="204" y="834"/>
                          </a:lnTo>
                          <a:lnTo>
                            <a:pt x="232" y="818"/>
                          </a:lnTo>
                          <a:lnTo>
                            <a:pt x="214" y="798"/>
                          </a:lnTo>
                          <a:lnTo>
                            <a:pt x="230" y="770"/>
                          </a:lnTo>
                          <a:lnTo>
                            <a:pt x="224" y="752"/>
                          </a:lnTo>
                          <a:lnTo>
                            <a:pt x="204" y="742"/>
                          </a:lnTo>
                          <a:lnTo>
                            <a:pt x="184" y="734"/>
                          </a:lnTo>
                          <a:lnTo>
                            <a:pt x="168" y="734"/>
                          </a:lnTo>
                          <a:lnTo>
                            <a:pt x="162" y="704"/>
                          </a:lnTo>
                          <a:lnTo>
                            <a:pt x="178" y="678"/>
                          </a:lnTo>
                          <a:lnTo>
                            <a:pt x="208" y="644"/>
                          </a:lnTo>
                          <a:lnTo>
                            <a:pt x="212" y="622"/>
                          </a:lnTo>
                          <a:lnTo>
                            <a:pt x="242" y="616"/>
                          </a:lnTo>
                          <a:lnTo>
                            <a:pt x="298" y="630"/>
                          </a:lnTo>
                          <a:lnTo>
                            <a:pt x="332" y="644"/>
                          </a:lnTo>
                          <a:lnTo>
                            <a:pt x="360" y="646"/>
                          </a:lnTo>
                          <a:lnTo>
                            <a:pt x="394" y="630"/>
                          </a:lnTo>
                          <a:lnTo>
                            <a:pt x="350" y="622"/>
                          </a:lnTo>
                          <a:lnTo>
                            <a:pt x="318" y="608"/>
                          </a:lnTo>
                          <a:lnTo>
                            <a:pt x="286" y="600"/>
                          </a:lnTo>
                          <a:cubicBezTo>
                            <a:pt x="272" y="593"/>
                            <a:pt x="258" y="588"/>
                            <a:pt x="242" y="588"/>
                          </a:cubicBezTo>
                          <a:lnTo>
                            <a:pt x="194" y="600"/>
                          </a:lnTo>
                          <a:lnTo>
                            <a:pt x="174" y="638"/>
                          </a:lnTo>
                          <a:lnTo>
                            <a:pt x="154" y="660"/>
                          </a:lnTo>
                          <a:lnTo>
                            <a:pt x="130" y="692"/>
                          </a:lnTo>
                          <a:lnTo>
                            <a:pt x="122" y="720"/>
                          </a:lnTo>
                          <a:lnTo>
                            <a:pt x="108" y="722"/>
                          </a:lnTo>
                          <a:lnTo>
                            <a:pt x="94" y="700"/>
                          </a:lnTo>
                          <a:lnTo>
                            <a:pt x="60" y="668"/>
                          </a:lnTo>
                          <a:lnTo>
                            <a:pt x="10" y="648"/>
                          </a:lnTo>
                          <a:lnTo>
                            <a:pt x="0" y="632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lIns="72000" anchor="ctr" anchorCtr="0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indent="266700"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7" name="Freeform 38"/>
                    <p:cNvSpPr>
                      <a:spLocks/>
                    </p:cNvSpPr>
                    <p:nvPr>
                      <p:custDataLst>
                        <p:tags r:id="rId13"/>
                      </p:custDataLst>
                    </p:nvPr>
                  </p:nvSpPr>
                  <p:spPr bwMode="gray">
                    <a:xfrm>
                      <a:off x="2383439" y="2884965"/>
                      <a:ext cx="1016418" cy="457577"/>
                    </a:xfrm>
                    <a:custGeom>
                      <a:avLst/>
                      <a:gdLst>
                        <a:gd name="T0" fmla="*/ 50 w 740"/>
                        <a:gd name="T1" fmla="*/ 320 h 346"/>
                        <a:gd name="T2" fmla="*/ 14 w 740"/>
                        <a:gd name="T3" fmla="*/ 298 h 346"/>
                        <a:gd name="T4" fmla="*/ 0 w 740"/>
                        <a:gd name="T5" fmla="*/ 274 h 346"/>
                        <a:gd name="T6" fmla="*/ 20 w 740"/>
                        <a:gd name="T7" fmla="*/ 232 h 346"/>
                        <a:gd name="T8" fmla="*/ 36 w 740"/>
                        <a:gd name="T9" fmla="*/ 194 h 346"/>
                        <a:gd name="T10" fmla="*/ 42 w 740"/>
                        <a:gd name="T11" fmla="*/ 166 h 346"/>
                        <a:gd name="T12" fmla="*/ 30 w 740"/>
                        <a:gd name="T13" fmla="*/ 138 h 346"/>
                        <a:gd name="T14" fmla="*/ 14 w 740"/>
                        <a:gd name="T15" fmla="*/ 114 h 346"/>
                        <a:gd name="T16" fmla="*/ 12 w 740"/>
                        <a:gd name="T17" fmla="*/ 88 h 346"/>
                        <a:gd name="T18" fmla="*/ 44 w 740"/>
                        <a:gd name="T19" fmla="*/ 80 h 346"/>
                        <a:gd name="T20" fmla="*/ 92 w 740"/>
                        <a:gd name="T21" fmla="*/ 56 h 346"/>
                        <a:gd name="T22" fmla="*/ 134 w 740"/>
                        <a:gd name="T23" fmla="*/ 22 h 346"/>
                        <a:gd name="T24" fmla="*/ 202 w 740"/>
                        <a:gd name="T25" fmla="*/ 8 h 346"/>
                        <a:gd name="T26" fmla="*/ 266 w 740"/>
                        <a:gd name="T27" fmla="*/ 0 h 346"/>
                        <a:gd name="T28" fmla="*/ 358 w 740"/>
                        <a:gd name="T29" fmla="*/ 22 h 346"/>
                        <a:gd name="T30" fmla="*/ 412 w 740"/>
                        <a:gd name="T31" fmla="*/ 36 h 346"/>
                        <a:gd name="T32" fmla="*/ 468 w 740"/>
                        <a:gd name="T33" fmla="*/ 34 h 346"/>
                        <a:gd name="T34" fmla="*/ 536 w 740"/>
                        <a:gd name="T35" fmla="*/ 48 h 346"/>
                        <a:gd name="T36" fmla="*/ 648 w 740"/>
                        <a:gd name="T37" fmla="*/ 56 h 346"/>
                        <a:gd name="T38" fmla="*/ 740 w 740"/>
                        <a:gd name="T39" fmla="*/ 76 h 346"/>
                        <a:gd name="T40" fmla="*/ 728 w 740"/>
                        <a:gd name="T41" fmla="*/ 120 h 346"/>
                        <a:gd name="T42" fmla="*/ 698 w 740"/>
                        <a:gd name="T43" fmla="*/ 200 h 346"/>
                        <a:gd name="T44" fmla="*/ 678 w 740"/>
                        <a:gd name="T45" fmla="*/ 262 h 346"/>
                        <a:gd name="T46" fmla="*/ 634 w 740"/>
                        <a:gd name="T47" fmla="*/ 308 h 346"/>
                        <a:gd name="T48" fmla="*/ 572 w 740"/>
                        <a:gd name="T49" fmla="*/ 340 h 346"/>
                        <a:gd name="T50" fmla="*/ 514 w 740"/>
                        <a:gd name="T51" fmla="*/ 346 h 346"/>
                        <a:gd name="T52" fmla="*/ 410 w 740"/>
                        <a:gd name="T53" fmla="*/ 342 h 346"/>
                        <a:gd name="T54" fmla="*/ 326 w 740"/>
                        <a:gd name="T55" fmla="*/ 328 h 346"/>
                        <a:gd name="T56" fmla="*/ 238 w 740"/>
                        <a:gd name="T57" fmla="*/ 316 h 346"/>
                        <a:gd name="T58" fmla="*/ 174 w 740"/>
                        <a:gd name="T59" fmla="*/ 308 h 346"/>
                        <a:gd name="T60" fmla="*/ 128 w 740"/>
                        <a:gd name="T61" fmla="*/ 304 h 346"/>
                        <a:gd name="T62" fmla="*/ 86 w 740"/>
                        <a:gd name="T63" fmla="*/ 308 h 346"/>
                        <a:gd name="T64" fmla="*/ 50 w 740"/>
                        <a:gd name="T65" fmla="*/ 320 h 3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740" h="346">
                          <a:moveTo>
                            <a:pt x="50" y="320"/>
                          </a:moveTo>
                          <a:lnTo>
                            <a:pt x="14" y="298"/>
                          </a:lnTo>
                          <a:lnTo>
                            <a:pt x="0" y="274"/>
                          </a:lnTo>
                          <a:lnTo>
                            <a:pt x="20" y="232"/>
                          </a:lnTo>
                          <a:lnTo>
                            <a:pt x="36" y="194"/>
                          </a:lnTo>
                          <a:lnTo>
                            <a:pt x="42" y="166"/>
                          </a:lnTo>
                          <a:lnTo>
                            <a:pt x="30" y="138"/>
                          </a:lnTo>
                          <a:lnTo>
                            <a:pt x="14" y="114"/>
                          </a:lnTo>
                          <a:lnTo>
                            <a:pt x="12" y="88"/>
                          </a:lnTo>
                          <a:lnTo>
                            <a:pt x="44" y="80"/>
                          </a:lnTo>
                          <a:lnTo>
                            <a:pt x="92" y="56"/>
                          </a:lnTo>
                          <a:lnTo>
                            <a:pt x="134" y="22"/>
                          </a:lnTo>
                          <a:lnTo>
                            <a:pt x="202" y="8"/>
                          </a:lnTo>
                          <a:lnTo>
                            <a:pt x="266" y="0"/>
                          </a:lnTo>
                          <a:lnTo>
                            <a:pt x="358" y="22"/>
                          </a:lnTo>
                          <a:lnTo>
                            <a:pt x="412" y="36"/>
                          </a:lnTo>
                          <a:lnTo>
                            <a:pt x="468" y="34"/>
                          </a:lnTo>
                          <a:lnTo>
                            <a:pt x="536" y="48"/>
                          </a:lnTo>
                          <a:lnTo>
                            <a:pt x="648" y="56"/>
                          </a:lnTo>
                          <a:lnTo>
                            <a:pt x="740" y="76"/>
                          </a:lnTo>
                          <a:lnTo>
                            <a:pt x="728" y="120"/>
                          </a:lnTo>
                          <a:lnTo>
                            <a:pt x="698" y="200"/>
                          </a:lnTo>
                          <a:lnTo>
                            <a:pt x="678" y="262"/>
                          </a:lnTo>
                          <a:lnTo>
                            <a:pt x="634" y="308"/>
                          </a:lnTo>
                          <a:lnTo>
                            <a:pt x="572" y="340"/>
                          </a:lnTo>
                          <a:lnTo>
                            <a:pt x="514" y="346"/>
                          </a:lnTo>
                          <a:lnTo>
                            <a:pt x="410" y="342"/>
                          </a:lnTo>
                          <a:lnTo>
                            <a:pt x="326" y="328"/>
                          </a:lnTo>
                          <a:lnTo>
                            <a:pt x="238" y="316"/>
                          </a:lnTo>
                          <a:lnTo>
                            <a:pt x="174" y="308"/>
                          </a:lnTo>
                          <a:lnTo>
                            <a:pt x="128" y="304"/>
                          </a:lnTo>
                          <a:lnTo>
                            <a:pt x="86" y="308"/>
                          </a:lnTo>
                          <a:lnTo>
                            <a:pt x="50" y="320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anchor="ctr" anchorCtr="1"/>
                    <a:lstStyle/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" name="Freeform 42"/>
                    <p:cNvSpPr>
                      <a:spLocks/>
                    </p:cNvSpPr>
                    <p:nvPr>
                      <p:custDataLst>
                        <p:tags r:id="rId14"/>
                      </p:custDataLst>
                    </p:nvPr>
                  </p:nvSpPr>
                  <p:spPr bwMode="gray">
                    <a:xfrm>
                      <a:off x="1897206" y="2324240"/>
                      <a:ext cx="1126299" cy="1473239"/>
                    </a:xfrm>
                    <a:custGeom>
                      <a:avLst/>
                      <a:gdLst>
                        <a:gd name="T0" fmla="*/ 368 w 820"/>
                        <a:gd name="T1" fmla="*/ 44 h 1114"/>
                        <a:gd name="T2" fmla="*/ 288 w 820"/>
                        <a:gd name="T3" fmla="*/ 152 h 1114"/>
                        <a:gd name="T4" fmla="*/ 250 w 820"/>
                        <a:gd name="T5" fmla="*/ 250 h 1114"/>
                        <a:gd name="T6" fmla="*/ 194 w 820"/>
                        <a:gd name="T7" fmla="*/ 292 h 1114"/>
                        <a:gd name="T8" fmla="*/ 146 w 820"/>
                        <a:gd name="T9" fmla="*/ 336 h 1114"/>
                        <a:gd name="T10" fmla="*/ 120 w 820"/>
                        <a:gd name="T11" fmla="*/ 378 h 1114"/>
                        <a:gd name="T12" fmla="*/ 30 w 820"/>
                        <a:gd name="T13" fmla="*/ 438 h 1114"/>
                        <a:gd name="T14" fmla="*/ 22 w 820"/>
                        <a:gd name="T15" fmla="*/ 502 h 1114"/>
                        <a:gd name="T16" fmla="*/ 82 w 820"/>
                        <a:gd name="T17" fmla="*/ 590 h 1114"/>
                        <a:gd name="T18" fmla="*/ 90 w 820"/>
                        <a:gd name="T19" fmla="*/ 718 h 1114"/>
                        <a:gd name="T20" fmla="*/ 42 w 820"/>
                        <a:gd name="T21" fmla="*/ 810 h 1114"/>
                        <a:gd name="T22" fmla="*/ 92 w 820"/>
                        <a:gd name="T23" fmla="*/ 852 h 1114"/>
                        <a:gd name="T24" fmla="*/ 150 w 820"/>
                        <a:gd name="T25" fmla="*/ 914 h 1114"/>
                        <a:gd name="T26" fmla="*/ 182 w 820"/>
                        <a:gd name="T27" fmla="*/ 1034 h 1114"/>
                        <a:gd name="T28" fmla="*/ 238 w 820"/>
                        <a:gd name="T29" fmla="*/ 1102 h 1114"/>
                        <a:gd name="T30" fmla="*/ 282 w 820"/>
                        <a:gd name="T31" fmla="*/ 1052 h 1114"/>
                        <a:gd name="T32" fmla="*/ 284 w 820"/>
                        <a:gd name="T33" fmla="*/ 934 h 1114"/>
                        <a:gd name="T34" fmla="*/ 324 w 820"/>
                        <a:gd name="T35" fmla="*/ 824 h 1114"/>
                        <a:gd name="T36" fmla="*/ 410 w 820"/>
                        <a:gd name="T37" fmla="*/ 746 h 1114"/>
                        <a:gd name="T38" fmla="*/ 358 w 820"/>
                        <a:gd name="T39" fmla="*/ 710 h 1114"/>
                        <a:gd name="T40" fmla="*/ 370 w 820"/>
                        <a:gd name="T41" fmla="*/ 660 h 1114"/>
                        <a:gd name="T42" fmla="*/ 394 w 820"/>
                        <a:gd name="T43" fmla="*/ 586 h 1114"/>
                        <a:gd name="T44" fmla="*/ 362 w 820"/>
                        <a:gd name="T45" fmla="*/ 510 h 1114"/>
                        <a:gd name="T46" fmla="*/ 446 w 820"/>
                        <a:gd name="T47" fmla="*/ 474 h 1114"/>
                        <a:gd name="T48" fmla="*/ 576 w 820"/>
                        <a:gd name="T49" fmla="*/ 428 h 1114"/>
                        <a:gd name="T50" fmla="*/ 678 w 820"/>
                        <a:gd name="T51" fmla="*/ 440 h 1114"/>
                        <a:gd name="T52" fmla="*/ 820 w 820"/>
                        <a:gd name="T53" fmla="*/ 456 h 1114"/>
                        <a:gd name="T54" fmla="*/ 816 w 820"/>
                        <a:gd name="T55" fmla="*/ 288 h 1114"/>
                        <a:gd name="T56" fmla="*/ 700 w 820"/>
                        <a:gd name="T57" fmla="*/ 208 h 1114"/>
                        <a:gd name="T58" fmla="*/ 634 w 820"/>
                        <a:gd name="T59" fmla="*/ 144 h 1114"/>
                        <a:gd name="T60" fmla="*/ 576 w 820"/>
                        <a:gd name="T61" fmla="*/ 192 h 1114"/>
                        <a:gd name="T62" fmla="*/ 538 w 820"/>
                        <a:gd name="T63" fmla="*/ 230 h 1114"/>
                        <a:gd name="T64" fmla="*/ 428 w 820"/>
                        <a:gd name="T65" fmla="*/ 252 h 1114"/>
                        <a:gd name="T66" fmla="*/ 354 w 820"/>
                        <a:gd name="T67" fmla="*/ 198 h 1114"/>
                        <a:gd name="T68" fmla="*/ 406 w 820"/>
                        <a:gd name="T69" fmla="*/ 106 h 1114"/>
                        <a:gd name="T70" fmla="*/ 420 w 820"/>
                        <a:gd name="T71" fmla="*/ 0 h 11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820" h="1114">
                          <a:moveTo>
                            <a:pt x="420" y="0"/>
                          </a:moveTo>
                          <a:lnTo>
                            <a:pt x="368" y="44"/>
                          </a:lnTo>
                          <a:lnTo>
                            <a:pt x="322" y="104"/>
                          </a:lnTo>
                          <a:lnTo>
                            <a:pt x="288" y="152"/>
                          </a:lnTo>
                          <a:lnTo>
                            <a:pt x="262" y="210"/>
                          </a:lnTo>
                          <a:lnTo>
                            <a:pt x="250" y="250"/>
                          </a:lnTo>
                          <a:lnTo>
                            <a:pt x="230" y="270"/>
                          </a:lnTo>
                          <a:lnTo>
                            <a:pt x="194" y="292"/>
                          </a:lnTo>
                          <a:lnTo>
                            <a:pt x="180" y="310"/>
                          </a:lnTo>
                          <a:lnTo>
                            <a:pt x="146" y="336"/>
                          </a:lnTo>
                          <a:lnTo>
                            <a:pt x="126" y="358"/>
                          </a:lnTo>
                          <a:lnTo>
                            <a:pt x="120" y="378"/>
                          </a:lnTo>
                          <a:lnTo>
                            <a:pt x="80" y="396"/>
                          </a:lnTo>
                          <a:lnTo>
                            <a:pt x="30" y="438"/>
                          </a:lnTo>
                          <a:lnTo>
                            <a:pt x="0" y="476"/>
                          </a:lnTo>
                          <a:lnTo>
                            <a:pt x="22" y="502"/>
                          </a:lnTo>
                          <a:lnTo>
                            <a:pt x="58" y="542"/>
                          </a:lnTo>
                          <a:lnTo>
                            <a:pt x="82" y="590"/>
                          </a:lnTo>
                          <a:lnTo>
                            <a:pt x="90" y="658"/>
                          </a:lnTo>
                          <a:lnTo>
                            <a:pt x="90" y="718"/>
                          </a:lnTo>
                          <a:lnTo>
                            <a:pt x="66" y="776"/>
                          </a:lnTo>
                          <a:lnTo>
                            <a:pt x="42" y="810"/>
                          </a:lnTo>
                          <a:lnTo>
                            <a:pt x="60" y="834"/>
                          </a:lnTo>
                          <a:lnTo>
                            <a:pt x="92" y="852"/>
                          </a:lnTo>
                          <a:lnTo>
                            <a:pt x="132" y="872"/>
                          </a:lnTo>
                          <a:lnTo>
                            <a:pt x="150" y="914"/>
                          </a:lnTo>
                          <a:lnTo>
                            <a:pt x="162" y="1006"/>
                          </a:lnTo>
                          <a:lnTo>
                            <a:pt x="182" y="1034"/>
                          </a:lnTo>
                          <a:lnTo>
                            <a:pt x="212" y="1114"/>
                          </a:lnTo>
                          <a:lnTo>
                            <a:pt x="238" y="1102"/>
                          </a:lnTo>
                          <a:lnTo>
                            <a:pt x="270" y="1090"/>
                          </a:lnTo>
                          <a:lnTo>
                            <a:pt x="282" y="1052"/>
                          </a:lnTo>
                          <a:lnTo>
                            <a:pt x="270" y="1002"/>
                          </a:lnTo>
                          <a:lnTo>
                            <a:pt x="284" y="934"/>
                          </a:lnTo>
                          <a:lnTo>
                            <a:pt x="304" y="856"/>
                          </a:lnTo>
                          <a:lnTo>
                            <a:pt x="324" y="824"/>
                          </a:lnTo>
                          <a:lnTo>
                            <a:pt x="384" y="774"/>
                          </a:lnTo>
                          <a:lnTo>
                            <a:pt x="410" y="746"/>
                          </a:lnTo>
                          <a:lnTo>
                            <a:pt x="382" y="724"/>
                          </a:lnTo>
                          <a:lnTo>
                            <a:pt x="358" y="710"/>
                          </a:lnTo>
                          <a:lnTo>
                            <a:pt x="356" y="688"/>
                          </a:lnTo>
                          <a:lnTo>
                            <a:pt x="370" y="660"/>
                          </a:lnTo>
                          <a:lnTo>
                            <a:pt x="392" y="626"/>
                          </a:lnTo>
                          <a:lnTo>
                            <a:pt x="394" y="586"/>
                          </a:lnTo>
                          <a:lnTo>
                            <a:pt x="376" y="546"/>
                          </a:lnTo>
                          <a:lnTo>
                            <a:pt x="362" y="510"/>
                          </a:lnTo>
                          <a:lnTo>
                            <a:pt x="392" y="504"/>
                          </a:lnTo>
                          <a:lnTo>
                            <a:pt x="446" y="474"/>
                          </a:lnTo>
                          <a:lnTo>
                            <a:pt x="486" y="444"/>
                          </a:lnTo>
                          <a:lnTo>
                            <a:pt x="576" y="428"/>
                          </a:lnTo>
                          <a:lnTo>
                            <a:pt x="620" y="424"/>
                          </a:lnTo>
                          <a:lnTo>
                            <a:pt x="678" y="440"/>
                          </a:lnTo>
                          <a:lnTo>
                            <a:pt x="766" y="456"/>
                          </a:lnTo>
                          <a:lnTo>
                            <a:pt x="820" y="456"/>
                          </a:lnTo>
                          <a:lnTo>
                            <a:pt x="812" y="404"/>
                          </a:lnTo>
                          <a:lnTo>
                            <a:pt x="816" y="288"/>
                          </a:lnTo>
                          <a:lnTo>
                            <a:pt x="774" y="256"/>
                          </a:lnTo>
                          <a:lnTo>
                            <a:pt x="700" y="208"/>
                          </a:lnTo>
                          <a:lnTo>
                            <a:pt x="664" y="122"/>
                          </a:lnTo>
                          <a:lnTo>
                            <a:pt x="634" y="144"/>
                          </a:lnTo>
                          <a:lnTo>
                            <a:pt x="604" y="168"/>
                          </a:lnTo>
                          <a:lnTo>
                            <a:pt x="576" y="192"/>
                          </a:lnTo>
                          <a:lnTo>
                            <a:pt x="558" y="210"/>
                          </a:lnTo>
                          <a:lnTo>
                            <a:pt x="538" y="230"/>
                          </a:lnTo>
                          <a:lnTo>
                            <a:pt x="482" y="280"/>
                          </a:lnTo>
                          <a:lnTo>
                            <a:pt x="428" y="252"/>
                          </a:lnTo>
                          <a:lnTo>
                            <a:pt x="386" y="230"/>
                          </a:lnTo>
                          <a:lnTo>
                            <a:pt x="354" y="198"/>
                          </a:lnTo>
                          <a:lnTo>
                            <a:pt x="354" y="174"/>
                          </a:lnTo>
                          <a:lnTo>
                            <a:pt x="406" y="106"/>
                          </a:lnTo>
                          <a:lnTo>
                            <a:pt x="432" y="50"/>
                          </a:lnTo>
                          <a:lnTo>
                            <a:pt x="420" y="0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lIns="144000" anchor="ctr" anchorCtr="0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9" name="Freeform 43"/>
                    <p:cNvSpPr>
                      <a:spLocks/>
                    </p:cNvSpPr>
                    <p:nvPr>
                      <p:custDataLst>
                        <p:tags r:id="rId15"/>
                      </p:custDataLst>
                    </p:nvPr>
                  </p:nvSpPr>
                  <p:spPr bwMode="gray">
                    <a:xfrm>
                      <a:off x="1537340" y="2956377"/>
                      <a:ext cx="486236" cy="444354"/>
                    </a:xfrm>
                    <a:custGeom>
                      <a:avLst/>
                      <a:gdLst>
                        <a:gd name="T0" fmla="*/ 256 w 354"/>
                        <a:gd name="T1" fmla="*/ 0 h 336"/>
                        <a:gd name="T2" fmla="*/ 188 w 354"/>
                        <a:gd name="T3" fmla="*/ 30 h 336"/>
                        <a:gd name="T4" fmla="*/ 140 w 354"/>
                        <a:gd name="T5" fmla="*/ 62 h 336"/>
                        <a:gd name="T6" fmla="*/ 108 w 354"/>
                        <a:gd name="T7" fmla="*/ 94 h 336"/>
                        <a:gd name="T8" fmla="*/ 52 w 354"/>
                        <a:gd name="T9" fmla="*/ 102 h 336"/>
                        <a:gd name="T10" fmla="*/ 10 w 354"/>
                        <a:gd name="T11" fmla="*/ 108 h 336"/>
                        <a:gd name="T12" fmla="*/ 0 w 354"/>
                        <a:gd name="T13" fmla="*/ 132 h 336"/>
                        <a:gd name="T14" fmla="*/ 68 w 354"/>
                        <a:gd name="T15" fmla="*/ 208 h 336"/>
                        <a:gd name="T16" fmla="*/ 90 w 354"/>
                        <a:gd name="T17" fmla="*/ 210 h 336"/>
                        <a:gd name="T18" fmla="*/ 118 w 354"/>
                        <a:gd name="T19" fmla="*/ 156 h 336"/>
                        <a:gd name="T20" fmla="*/ 124 w 354"/>
                        <a:gd name="T21" fmla="*/ 130 h 336"/>
                        <a:gd name="T22" fmla="*/ 194 w 354"/>
                        <a:gd name="T23" fmla="*/ 156 h 336"/>
                        <a:gd name="T24" fmla="*/ 230 w 354"/>
                        <a:gd name="T25" fmla="*/ 172 h 336"/>
                        <a:gd name="T26" fmla="*/ 248 w 354"/>
                        <a:gd name="T27" fmla="*/ 210 h 336"/>
                        <a:gd name="T28" fmla="*/ 258 w 354"/>
                        <a:gd name="T29" fmla="*/ 268 h 336"/>
                        <a:gd name="T30" fmla="*/ 290 w 354"/>
                        <a:gd name="T31" fmla="*/ 320 h 336"/>
                        <a:gd name="T32" fmla="*/ 304 w 354"/>
                        <a:gd name="T33" fmla="*/ 336 h 336"/>
                        <a:gd name="T34" fmla="*/ 328 w 354"/>
                        <a:gd name="T35" fmla="*/ 294 h 336"/>
                        <a:gd name="T36" fmla="*/ 354 w 354"/>
                        <a:gd name="T37" fmla="*/ 242 h 336"/>
                        <a:gd name="T38" fmla="*/ 354 w 354"/>
                        <a:gd name="T39" fmla="*/ 156 h 336"/>
                        <a:gd name="T40" fmla="*/ 334 w 354"/>
                        <a:gd name="T41" fmla="*/ 78 h 336"/>
                        <a:gd name="T42" fmla="*/ 284 w 354"/>
                        <a:gd name="T43" fmla="*/ 16 h 336"/>
                        <a:gd name="T44" fmla="*/ 256 w 354"/>
                        <a:gd name="T45" fmla="*/ 0 h 3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354" h="336">
                          <a:moveTo>
                            <a:pt x="256" y="0"/>
                          </a:moveTo>
                          <a:lnTo>
                            <a:pt x="188" y="30"/>
                          </a:lnTo>
                          <a:lnTo>
                            <a:pt x="140" y="62"/>
                          </a:lnTo>
                          <a:lnTo>
                            <a:pt x="108" y="94"/>
                          </a:lnTo>
                          <a:lnTo>
                            <a:pt x="52" y="102"/>
                          </a:lnTo>
                          <a:lnTo>
                            <a:pt x="10" y="108"/>
                          </a:lnTo>
                          <a:lnTo>
                            <a:pt x="0" y="132"/>
                          </a:lnTo>
                          <a:lnTo>
                            <a:pt x="68" y="208"/>
                          </a:lnTo>
                          <a:lnTo>
                            <a:pt x="90" y="210"/>
                          </a:lnTo>
                          <a:lnTo>
                            <a:pt x="118" y="156"/>
                          </a:lnTo>
                          <a:lnTo>
                            <a:pt x="124" y="130"/>
                          </a:lnTo>
                          <a:lnTo>
                            <a:pt x="194" y="156"/>
                          </a:lnTo>
                          <a:lnTo>
                            <a:pt x="230" y="172"/>
                          </a:lnTo>
                          <a:lnTo>
                            <a:pt x="248" y="210"/>
                          </a:lnTo>
                          <a:lnTo>
                            <a:pt x="258" y="268"/>
                          </a:lnTo>
                          <a:lnTo>
                            <a:pt x="290" y="320"/>
                          </a:lnTo>
                          <a:lnTo>
                            <a:pt x="304" y="336"/>
                          </a:lnTo>
                          <a:lnTo>
                            <a:pt x="328" y="294"/>
                          </a:lnTo>
                          <a:lnTo>
                            <a:pt x="354" y="242"/>
                          </a:lnTo>
                          <a:lnTo>
                            <a:pt x="354" y="156"/>
                          </a:lnTo>
                          <a:lnTo>
                            <a:pt x="334" y="78"/>
                          </a:lnTo>
                          <a:lnTo>
                            <a:pt x="284" y="16"/>
                          </a:lnTo>
                          <a:lnTo>
                            <a:pt x="256" y="0"/>
                          </a:lnTo>
                          <a:close/>
                        </a:path>
                      </a:pathLst>
                    </a:custGeom>
                    <a:grpFill/>
                    <a:ln w="190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/>
                  </p:spPr>
                  <p:txBody>
                    <a:bodyPr wrap="square" anchor="ctr" anchorCtr="1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fr-FR" sz="1000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grpSp>
                <p:nvGrpSpPr>
                  <p:cNvPr id="41" name="Groupe 40"/>
                  <p:cNvGrpSpPr/>
                  <p:nvPr/>
                </p:nvGrpSpPr>
                <p:grpSpPr>
                  <a:xfrm>
                    <a:off x="1883229" y="1450248"/>
                    <a:ext cx="252231" cy="252231"/>
                    <a:chOff x="250825" y="3464288"/>
                    <a:chExt cx="504462" cy="504462"/>
                  </a:xfrm>
                </p:grpSpPr>
                <p:sp>
                  <p:nvSpPr>
                    <p:cNvPr id="42" name="Ellipse 41"/>
                    <p:cNvSpPr/>
                    <p:nvPr/>
                  </p:nvSpPr>
                  <p:spPr>
                    <a:xfrm>
                      <a:off x="250825" y="3464288"/>
                      <a:ext cx="504462" cy="504462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  <p:sp>
                  <p:nvSpPr>
                    <p:cNvPr id="43" name="Ellipse 42"/>
                    <p:cNvSpPr/>
                    <p:nvPr/>
                  </p:nvSpPr>
                  <p:spPr>
                    <a:xfrm>
                      <a:off x="376313" y="3589776"/>
                      <a:ext cx="253486" cy="253486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</p:grpSp>
              <p:grpSp>
                <p:nvGrpSpPr>
                  <p:cNvPr id="44" name="Groupe 43"/>
                  <p:cNvGrpSpPr/>
                  <p:nvPr/>
                </p:nvGrpSpPr>
                <p:grpSpPr>
                  <a:xfrm>
                    <a:off x="6005446" y="4893468"/>
                    <a:ext cx="252231" cy="252231"/>
                    <a:chOff x="250825" y="3464288"/>
                    <a:chExt cx="504462" cy="504462"/>
                  </a:xfrm>
                </p:grpSpPr>
                <p:sp>
                  <p:nvSpPr>
                    <p:cNvPr id="45" name="Ellipse 44"/>
                    <p:cNvSpPr/>
                    <p:nvPr/>
                  </p:nvSpPr>
                  <p:spPr>
                    <a:xfrm>
                      <a:off x="250825" y="3464288"/>
                      <a:ext cx="504462" cy="504462"/>
                    </a:xfrm>
                    <a:prstGeom prst="ellipse">
                      <a:avLst/>
                    </a:prstGeom>
                    <a:solidFill>
                      <a:srgbClr val="F0B27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  <p:sp>
                  <p:nvSpPr>
                    <p:cNvPr id="46" name="Ellipse 45"/>
                    <p:cNvSpPr/>
                    <p:nvPr/>
                  </p:nvSpPr>
                  <p:spPr>
                    <a:xfrm>
                      <a:off x="376313" y="3589776"/>
                      <a:ext cx="253486" cy="253486"/>
                    </a:xfrm>
                    <a:prstGeom prst="ellipse">
                      <a:avLst/>
                    </a:prstGeom>
                    <a:solidFill>
                      <a:srgbClr val="F0B270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</p:grpSp>
              <p:grpSp>
                <p:nvGrpSpPr>
                  <p:cNvPr id="47" name="Groupe 46"/>
                  <p:cNvGrpSpPr/>
                  <p:nvPr/>
                </p:nvGrpSpPr>
                <p:grpSpPr>
                  <a:xfrm>
                    <a:off x="4792161" y="1624637"/>
                    <a:ext cx="252231" cy="252231"/>
                    <a:chOff x="250825" y="3464288"/>
                    <a:chExt cx="504462" cy="504462"/>
                  </a:xfrm>
                  <a:solidFill>
                    <a:srgbClr val="0070C0"/>
                  </a:solidFill>
                </p:grpSpPr>
                <p:sp>
                  <p:nvSpPr>
                    <p:cNvPr id="48" name="Ellipse 47"/>
                    <p:cNvSpPr/>
                    <p:nvPr/>
                  </p:nvSpPr>
                  <p:spPr>
                    <a:xfrm>
                      <a:off x="250825" y="3464288"/>
                      <a:ext cx="504462" cy="504462"/>
                    </a:xfrm>
                    <a:prstGeom prst="ellipse">
                      <a:avLst/>
                    </a:prstGeom>
                    <a:solidFill>
                      <a:srgbClr val="29A3F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  <p:sp>
                  <p:nvSpPr>
                    <p:cNvPr id="49" name="Ellipse 48"/>
                    <p:cNvSpPr/>
                    <p:nvPr/>
                  </p:nvSpPr>
                  <p:spPr>
                    <a:xfrm>
                      <a:off x="376313" y="3589776"/>
                      <a:ext cx="253486" cy="253486"/>
                    </a:xfrm>
                    <a:prstGeom prst="ellipse">
                      <a:avLst/>
                    </a:prstGeom>
                    <a:solidFill>
                      <a:srgbClr val="29A3FF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</p:grpSp>
              <p:grpSp>
                <p:nvGrpSpPr>
                  <p:cNvPr id="50" name="Groupe 49"/>
                  <p:cNvGrpSpPr/>
                  <p:nvPr/>
                </p:nvGrpSpPr>
                <p:grpSpPr>
                  <a:xfrm>
                    <a:off x="5205269" y="3792878"/>
                    <a:ext cx="252231" cy="252231"/>
                    <a:chOff x="2290924" y="4119680"/>
                    <a:chExt cx="504462" cy="504462"/>
                  </a:xfrm>
                  <a:solidFill>
                    <a:srgbClr val="FFC000"/>
                  </a:solidFill>
                </p:grpSpPr>
                <p:sp>
                  <p:nvSpPr>
                    <p:cNvPr id="51" name="Ellipse 50"/>
                    <p:cNvSpPr/>
                    <p:nvPr/>
                  </p:nvSpPr>
                  <p:spPr>
                    <a:xfrm>
                      <a:off x="2290924" y="4119680"/>
                      <a:ext cx="504462" cy="504462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  <p:sp>
                  <p:nvSpPr>
                    <p:cNvPr id="52" name="Ellipse 51"/>
                    <p:cNvSpPr/>
                    <p:nvPr/>
                  </p:nvSpPr>
                  <p:spPr>
                    <a:xfrm>
                      <a:off x="2420178" y="4245167"/>
                      <a:ext cx="253486" cy="253486"/>
                    </a:xfrm>
                    <a:prstGeom prst="ellipse">
                      <a:avLst/>
                    </a:prstGeom>
                    <a:grp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</p:grpSp>
              <p:grpSp>
                <p:nvGrpSpPr>
                  <p:cNvPr id="53" name="Groupe 52"/>
                  <p:cNvGrpSpPr/>
                  <p:nvPr/>
                </p:nvGrpSpPr>
                <p:grpSpPr>
                  <a:xfrm>
                    <a:off x="1919331" y="4805149"/>
                    <a:ext cx="252231" cy="252231"/>
                    <a:chOff x="250825" y="3464288"/>
                    <a:chExt cx="504462" cy="504462"/>
                  </a:xfrm>
                  <a:solidFill>
                    <a:srgbClr val="7030A0"/>
                  </a:solidFill>
                </p:grpSpPr>
                <p:sp>
                  <p:nvSpPr>
                    <p:cNvPr id="54" name="Ellipse 53"/>
                    <p:cNvSpPr/>
                    <p:nvPr/>
                  </p:nvSpPr>
                  <p:spPr>
                    <a:xfrm>
                      <a:off x="250825" y="3464288"/>
                      <a:ext cx="504462" cy="504462"/>
                    </a:xfrm>
                    <a:prstGeom prst="ellipse">
                      <a:avLst/>
                    </a:prstGeom>
                    <a:solidFill>
                      <a:srgbClr val="BF95D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  <p:sp>
                  <p:nvSpPr>
                    <p:cNvPr id="55" name="Ellipse 54"/>
                    <p:cNvSpPr/>
                    <p:nvPr/>
                  </p:nvSpPr>
                  <p:spPr>
                    <a:xfrm>
                      <a:off x="376313" y="3589776"/>
                      <a:ext cx="253486" cy="253486"/>
                    </a:xfrm>
                    <a:prstGeom prst="ellipse">
                      <a:avLst/>
                    </a:prstGeom>
                    <a:solidFill>
                      <a:srgbClr val="BF95DF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</p:grpSp>
              <p:grpSp>
                <p:nvGrpSpPr>
                  <p:cNvPr id="59" name="Groupe 58"/>
                  <p:cNvGrpSpPr/>
                  <p:nvPr/>
                </p:nvGrpSpPr>
                <p:grpSpPr>
                  <a:xfrm>
                    <a:off x="2289768" y="2814670"/>
                    <a:ext cx="252231" cy="252231"/>
                    <a:chOff x="250825" y="3464288"/>
                    <a:chExt cx="504462" cy="504462"/>
                  </a:xfrm>
                  <a:solidFill>
                    <a:schemeClr val="accent1"/>
                  </a:solidFill>
                </p:grpSpPr>
                <p:sp>
                  <p:nvSpPr>
                    <p:cNvPr id="60" name="Ellipse 59"/>
                    <p:cNvSpPr/>
                    <p:nvPr/>
                  </p:nvSpPr>
                  <p:spPr>
                    <a:xfrm>
                      <a:off x="250825" y="3464288"/>
                      <a:ext cx="504462" cy="504462"/>
                    </a:xfrm>
                    <a:prstGeom prst="ellipse">
                      <a:avLst/>
                    </a:prstGeom>
                    <a:solidFill>
                      <a:srgbClr val="EC654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  <p:sp>
                  <p:nvSpPr>
                    <p:cNvPr id="61" name="Ellipse 60"/>
                    <p:cNvSpPr/>
                    <p:nvPr/>
                  </p:nvSpPr>
                  <p:spPr>
                    <a:xfrm>
                      <a:off x="376313" y="3589776"/>
                      <a:ext cx="253486" cy="253486"/>
                    </a:xfrm>
                    <a:prstGeom prst="ellipse">
                      <a:avLst/>
                    </a:prstGeom>
                    <a:solidFill>
                      <a:srgbClr val="EC6540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</p:grpSp>
            </p:grpSp>
            <p:sp>
              <p:nvSpPr>
                <p:cNvPr id="63" name="ZoneTexte 62"/>
                <p:cNvSpPr txBox="1"/>
                <p:nvPr/>
              </p:nvSpPr>
              <p:spPr>
                <a:xfrm>
                  <a:off x="2134541" y="1113419"/>
                  <a:ext cx="1216108" cy="338554"/>
                </a:xfrm>
                <a:prstGeom prst="rect">
                  <a:avLst/>
                </a:prstGeom>
                <a:solidFill>
                  <a:srgbClr val="6AAC9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fr-CA" sz="1600" dirty="0" smtClean="0"/>
                    <a:t>Saint-Louis</a:t>
                  </a:r>
                  <a:endParaRPr lang="fr-CA" sz="1600" dirty="0"/>
                </a:p>
              </p:txBody>
            </p:sp>
            <p:sp>
              <p:nvSpPr>
                <p:cNvPr id="64" name="ZoneTexte 63"/>
                <p:cNvSpPr txBox="1"/>
                <p:nvPr/>
              </p:nvSpPr>
              <p:spPr>
                <a:xfrm>
                  <a:off x="5371546" y="1347796"/>
                  <a:ext cx="942047" cy="338554"/>
                </a:xfrm>
                <a:prstGeom prst="rect">
                  <a:avLst/>
                </a:prstGeom>
                <a:solidFill>
                  <a:srgbClr val="29A3FF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fr-CA" sz="1600" dirty="0" smtClean="0"/>
                    <a:t>Matam</a:t>
                  </a:r>
                  <a:endParaRPr lang="fr-CA" sz="1600" dirty="0"/>
                </a:p>
              </p:txBody>
            </p:sp>
            <p:sp>
              <p:nvSpPr>
                <p:cNvPr id="65" name="ZoneTexte 64"/>
                <p:cNvSpPr txBox="1"/>
                <p:nvPr/>
              </p:nvSpPr>
              <p:spPr>
                <a:xfrm>
                  <a:off x="5700475" y="3863839"/>
                  <a:ext cx="1666417" cy="338554"/>
                </a:xfrm>
                <a:prstGeom prst="rect">
                  <a:avLst/>
                </a:prstGeom>
                <a:solidFill>
                  <a:srgbClr val="FFC000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fr-CA" sz="1600" dirty="0" smtClean="0"/>
                    <a:t>Tambacounda</a:t>
                  </a:r>
                  <a:endParaRPr lang="fr-CA" dirty="0"/>
                </a:p>
              </p:txBody>
            </p:sp>
            <p:sp>
              <p:nvSpPr>
                <p:cNvPr id="66" name="ZoneTexte 65"/>
                <p:cNvSpPr txBox="1"/>
                <p:nvPr/>
              </p:nvSpPr>
              <p:spPr>
                <a:xfrm>
                  <a:off x="6244805" y="5077919"/>
                  <a:ext cx="1253519" cy="338554"/>
                </a:xfrm>
                <a:prstGeom prst="rect">
                  <a:avLst/>
                </a:prstGeom>
                <a:solidFill>
                  <a:srgbClr val="F0B270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fr-CA" sz="1600" dirty="0" smtClean="0"/>
                    <a:t>Kédougou</a:t>
                  </a:r>
                  <a:endParaRPr lang="fr-CA" dirty="0"/>
                </a:p>
              </p:txBody>
            </p:sp>
            <p:sp>
              <p:nvSpPr>
                <p:cNvPr id="67" name="ZoneTexte 66"/>
                <p:cNvSpPr txBox="1"/>
                <p:nvPr/>
              </p:nvSpPr>
              <p:spPr>
                <a:xfrm>
                  <a:off x="2280407" y="5117120"/>
                  <a:ext cx="1231457" cy="338554"/>
                </a:xfrm>
                <a:prstGeom prst="rect">
                  <a:avLst/>
                </a:prstGeom>
                <a:solidFill>
                  <a:srgbClr val="BF95DF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fr-CA" sz="1600" dirty="0" smtClean="0"/>
                    <a:t>Ziguinchor</a:t>
                  </a:r>
                  <a:endParaRPr lang="fr-CA" dirty="0"/>
                </a:p>
              </p:txBody>
            </p:sp>
            <p:sp>
              <p:nvSpPr>
                <p:cNvPr id="69" name="ZoneTexte 68"/>
                <p:cNvSpPr txBox="1"/>
                <p:nvPr/>
              </p:nvSpPr>
              <p:spPr>
                <a:xfrm>
                  <a:off x="2657062" y="2818112"/>
                  <a:ext cx="829110" cy="338554"/>
                </a:xfrm>
                <a:prstGeom prst="rect">
                  <a:avLst/>
                </a:prstGeom>
                <a:solidFill>
                  <a:srgbClr val="EC6540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fr-CA" sz="1600" dirty="0" smtClean="0"/>
                    <a:t>Touba</a:t>
                  </a:r>
                  <a:endParaRPr lang="fr-CA" dirty="0"/>
                </a:p>
              </p:txBody>
            </p:sp>
          </p:grpSp>
          <p:grpSp>
            <p:nvGrpSpPr>
              <p:cNvPr id="2" name="Groupe 1"/>
              <p:cNvGrpSpPr/>
              <p:nvPr/>
            </p:nvGrpSpPr>
            <p:grpSpPr>
              <a:xfrm>
                <a:off x="151626" y="2868042"/>
                <a:ext cx="1161150" cy="1205645"/>
                <a:chOff x="151626" y="2868042"/>
                <a:chExt cx="1161150" cy="1205645"/>
              </a:xfrm>
            </p:grpSpPr>
            <p:sp>
              <p:nvSpPr>
                <p:cNvPr id="71" name="Shape 730"/>
                <p:cNvSpPr txBox="1"/>
                <p:nvPr/>
              </p:nvSpPr>
              <p:spPr>
                <a:xfrm>
                  <a:off x="151626" y="2868042"/>
                  <a:ext cx="689840" cy="338554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buSzPct val="25000"/>
                    <a:buNone/>
                  </a:pPr>
                  <a:r>
                    <a:rPr lang="fr-CA" sz="1600" dirty="0" smtClean="0">
                      <a:solidFill>
                        <a:schemeClr val="dk1"/>
                      </a:solidFill>
                      <a:latin typeface="Century Gothic"/>
                      <a:ea typeface="Century Gothic"/>
                      <a:cs typeface="Century Gothic"/>
                      <a:sym typeface="Century Gothic"/>
                    </a:rPr>
                    <a:t>AILSS</a:t>
                  </a:r>
                  <a:endParaRPr lang="fr-CA" sz="1600" dirty="0">
                    <a:solidFill>
                      <a:schemeClr val="dk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2" name="Shape 710"/>
                <p:cNvSpPr/>
                <p:nvPr/>
              </p:nvSpPr>
              <p:spPr>
                <a:xfrm>
                  <a:off x="599881" y="3276400"/>
                  <a:ext cx="277988" cy="293559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3" name="Shape 711"/>
                <p:cNvSpPr/>
                <p:nvPr/>
              </p:nvSpPr>
              <p:spPr>
                <a:xfrm>
                  <a:off x="677238" y="3327096"/>
                  <a:ext cx="139686" cy="147510"/>
                </a:xfrm>
                <a:prstGeom prst="ellipse">
                  <a:avLst/>
                </a:prstGeom>
                <a:solidFill>
                  <a:srgbClr val="FF0000"/>
                </a:solidFill>
                <a:ln w="15875" cap="rnd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4" name="Shape 730"/>
                <p:cNvSpPr txBox="1"/>
                <p:nvPr/>
              </p:nvSpPr>
              <p:spPr>
                <a:xfrm>
                  <a:off x="523081" y="3735133"/>
                  <a:ext cx="689840" cy="338554"/>
                </a:xfrm>
                <a:prstGeom prst="rect">
                  <a:avLst/>
                </a:prstGeom>
                <a:solidFill>
                  <a:srgbClr val="44546A"/>
                </a:solidFill>
                <a:ln>
                  <a:noFill/>
                </a:ln>
              </p:spPr>
              <p:txBody>
                <a:bodyPr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buSzPct val="25000"/>
                    <a:buNone/>
                  </a:pPr>
                  <a:r>
                    <a:rPr lang="fr-CA" sz="1600" dirty="0" smtClean="0">
                      <a:solidFill>
                        <a:schemeClr val="dk1"/>
                      </a:solidFill>
                      <a:latin typeface="Century Gothic"/>
                      <a:ea typeface="Century Gothic"/>
                      <a:cs typeface="Century Gothic"/>
                      <a:sym typeface="Century Gothic"/>
                    </a:rPr>
                    <a:t>AIBD</a:t>
                  </a:r>
                  <a:endParaRPr lang="fr-CA" sz="1600" dirty="0">
                    <a:solidFill>
                      <a:schemeClr val="dk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grpSp>
              <p:nvGrpSpPr>
                <p:cNvPr id="78" name="Groupe 77"/>
                <p:cNvGrpSpPr/>
                <p:nvPr/>
              </p:nvGrpSpPr>
              <p:grpSpPr>
                <a:xfrm>
                  <a:off x="1034788" y="3435267"/>
                  <a:ext cx="277988" cy="293559"/>
                  <a:chOff x="1009236" y="3202645"/>
                  <a:chExt cx="277988" cy="293559"/>
                </a:xfrm>
              </p:grpSpPr>
              <p:sp>
                <p:nvSpPr>
                  <p:cNvPr id="79" name="Shape 710"/>
                  <p:cNvSpPr/>
                  <p:nvPr/>
                </p:nvSpPr>
                <p:spPr>
                  <a:xfrm>
                    <a:off x="1009236" y="3202645"/>
                    <a:ext cx="277988" cy="293559"/>
                  </a:xfrm>
                  <a:prstGeom prst="ellipse">
                    <a:avLst/>
                  </a:prstGeom>
                  <a:solidFill>
                    <a:schemeClr val="tx2"/>
                  </a:solidFill>
                  <a:ln>
                    <a:noFill/>
                  </a:ln>
                </p:spPr>
                <p:txBody>
                  <a:bodyPr lIns="91425" tIns="45700" rIns="91425" bIns="45700" anchor="ctr" anchorCtr="0">
                    <a:noAutofit/>
                  </a:bodyPr>
                  <a:lstStyle/>
                  <a:p>
                    <a:pPr marL="0" marR="0" lvl="0" indent="0" algn="ctr" rtl="0">
                      <a:spcBef>
                        <a:spcPts val="0"/>
                      </a:spcBef>
                      <a:buNone/>
                    </a:pPr>
                    <a:endParaRPr sz="1800">
                      <a:solidFill>
                        <a:schemeClr val="lt1"/>
                      </a:solidFill>
                      <a:latin typeface="Century Gothic"/>
                      <a:ea typeface="Century Gothic"/>
                      <a:cs typeface="Century Gothic"/>
                      <a:sym typeface="Century Gothic"/>
                    </a:endParaRPr>
                  </a:p>
                </p:txBody>
              </p:sp>
              <p:sp>
                <p:nvSpPr>
                  <p:cNvPr id="80" name="Shape 711"/>
                  <p:cNvSpPr/>
                  <p:nvPr/>
                </p:nvSpPr>
                <p:spPr>
                  <a:xfrm>
                    <a:off x="1086593" y="3253341"/>
                    <a:ext cx="139686" cy="14751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5875" cap="rnd" cmpd="sng">
                    <a:solidFill>
                      <a:schemeClr val="l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lIns="91425" tIns="45700" rIns="91425" bIns="45700" anchor="ctr" anchorCtr="0">
                    <a:noAutofit/>
                  </a:bodyPr>
                  <a:lstStyle/>
                  <a:p>
                    <a:pPr marL="0" marR="0" lvl="0" indent="0" algn="ctr" rtl="0">
                      <a:spcBef>
                        <a:spcPts val="0"/>
                      </a:spcBef>
                      <a:buNone/>
                    </a:pPr>
                    <a:endParaRPr sz="1800">
                      <a:solidFill>
                        <a:schemeClr val="lt1"/>
                      </a:solidFill>
                      <a:latin typeface="Century Gothic"/>
                      <a:ea typeface="Century Gothic"/>
                      <a:cs typeface="Century Gothic"/>
                      <a:sym typeface="Century Gothic"/>
                    </a:endParaRPr>
                  </a:p>
                </p:txBody>
              </p:sp>
            </p:grpSp>
          </p:grpSp>
        </p:grpSp>
        <p:sp>
          <p:nvSpPr>
            <p:cNvPr id="81" name="Ellipse 80"/>
            <p:cNvSpPr/>
            <p:nvPr/>
          </p:nvSpPr>
          <p:spPr>
            <a:xfrm>
              <a:off x="4029046" y="1281555"/>
              <a:ext cx="139686" cy="14751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2" name="Ellipse 81"/>
            <p:cNvSpPr/>
            <p:nvPr/>
          </p:nvSpPr>
          <p:spPr>
            <a:xfrm>
              <a:off x="1212921" y="6047737"/>
              <a:ext cx="139686" cy="14751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3" name="Ellipse 82"/>
            <p:cNvSpPr/>
            <p:nvPr/>
          </p:nvSpPr>
          <p:spPr>
            <a:xfrm>
              <a:off x="3638866" y="5771270"/>
              <a:ext cx="139686" cy="14751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4" name="Ellipse 83"/>
            <p:cNvSpPr/>
            <p:nvPr/>
          </p:nvSpPr>
          <p:spPr>
            <a:xfrm>
              <a:off x="2340041" y="2728534"/>
              <a:ext cx="139686" cy="14751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5" name="Ellipse 84"/>
            <p:cNvSpPr/>
            <p:nvPr/>
          </p:nvSpPr>
          <p:spPr>
            <a:xfrm>
              <a:off x="4337818" y="5591409"/>
              <a:ext cx="139686" cy="14751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6" name="ZoneTexte 85"/>
            <p:cNvSpPr txBox="1"/>
            <p:nvPr/>
          </p:nvSpPr>
          <p:spPr>
            <a:xfrm>
              <a:off x="200865" y="6168861"/>
              <a:ext cx="1151741" cy="27699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fr-CA" sz="1200" dirty="0" smtClean="0">
                  <a:latin typeface="Century Gothic" panose="020B0502020202020204" pitchFamily="34" charset="0"/>
                </a:rPr>
                <a:t>Cap-</a:t>
              </a:r>
              <a:r>
                <a:rPr lang="fr-CA" sz="1200" dirty="0" err="1" smtClean="0">
                  <a:latin typeface="Century Gothic" panose="020B0502020202020204" pitchFamily="34" charset="0"/>
                </a:rPr>
                <a:t>Skirring</a:t>
              </a:r>
              <a:endParaRPr lang="fr-CA" sz="1400" dirty="0">
                <a:latin typeface="Century Gothic" panose="020B0502020202020204" pitchFamily="34" charset="0"/>
              </a:endParaRPr>
            </a:p>
          </p:txBody>
        </p:sp>
        <p:sp>
          <p:nvSpPr>
            <p:cNvPr id="87" name="ZoneTexte 86"/>
            <p:cNvSpPr txBox="1"/>
            <p:nvPr/>
          </p:nvSpPr>
          <p:spPr>
            <a:xfrm>
              <a:off x="3795396" y="5912665"/>
              <a:ext cx="682108" cy="27699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fr-CA" sz="1200" dirty="0" smtClean="0">
                  <a:latin typeface="Century Gothic" panose="020B0502020202020204" pitchFamily="34" charset="0"/>
                </a:rPr>
                <a:t>Kolda</a:t>
              </a:r>
              <a:endParaRPr lang="fr-CA" sz="1400" dirty="0">
                <a:latin typeface="Century Gothic" panose="020B0502020202020204" pitchFamily="34" charset="0"/>
              </a:endParaRPr>
            </a:p>
          </p:txBody>
        </p:sp>
        <p:sp>
          <p:nvSpPr>
            <p:cNvPr id="88" name="ZoneTexte 87"/>
            <p:cNvSpPr txBox="1"/>
            <p:nvPr/>
          </p:nvSpPr>
          <p:spPr>
            <a:xfrm>
              <a:off x="4446674" y="5222606"/>
              <a:ext cx="850883" cy="27699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fr-CA" sz="1200" dirty="0" err="1" smtClean="0">
                  <a:latin typeface="Century Gothic" panose="020B0502020202020204" pitchFamily="34" charset="0"/>
                </a:rPr>
                <a:t>Sédhiou</a:t>
              </a:r>
              <a:endParaRPr lang="fr-CA"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89" name="ZoneTexte 88"/>
            <p:cNvSpPr txBox="1"/>
            <p:nvPr/>
          </p:nvSpPr>
          <p:spPr>
            <a:xfrm>
              <a:off x="2432353" y="2371028"/>
              <a:ext cx="886602" cy="27699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fr-CA" sz="1200" dirty="0" smtClean="0">
                  <a:latin typeface="Century Gothic" panose="020B0502020202020204" pitchFamily="34" charset="0"/>
                </a:rPr>
                <a:t>Linguère</a:t>
              </a:r>
              <a:endParaRPr lang="fr-CA"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90" name="ZoneTexte 89"/>
            <p:cNvSpPr txBox="1"/>
            <p:nvPr/>
          </p:nvSpPr>
          <p:spPr>
            <a:xfrm>
              <a:off x="4219244" y="1088797"/>
              <a:ext cx="731518" cy="27699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fr-CA" sz="1200" dirty="0" smtClean="0">
                  <a:latin typeface="Century Gothic" panose="020B0502020202020204" pitchFamily="34" charset="0"/>
                </a:rPr>
                <a:t>Podor</a:t>
              </a:r>
              <a:endParaRPr lang="fr-CA"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83" name="Ellipse 182"/>
            <p:cNvSpPr/>
            <p:nvPr/>
          </p:nvSpPr>
          <p:spPr>
            <a:xfrm>
              <a:off x="4499398" y="4480497"/>
              <a:ext cx="139686" cy="14751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4" name="ZoneTexte 183"/>
            <p:cNvSpPr txBox="1"/>
            <p:nvPr/>
          </p:nvSpPr>
          <p:spPr>
            <a:xfrm>
              <a:off x="4569790" y="4106627"/>
              <a:ext cx="714935" cy="27699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fr-CA" sz="1200" dirty="0" err="1" smtClean="0">
                  <a:latin typeface="Century Gothic" panose="020B0502020202020204" pitchFamily="34" charset="0"/>
                </a:rPr>
                <a:t>Simenti</a:t>
              </a:r>
              <a:endParaRPr lang="fr-CA" sz="1200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91" name="Ellipse 90"/>
          <p:cNvSpPr/>
          <p:nvPr/>
        </p:nvSpPr>
        <p:spPr>
          <a:xfrm>
            <a:off x="2977821" y="4057981"/>
            <a:ext cx="139686" cy="147510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2" name="ZoneTexte 91"/>
          <p:cNvSpPr txBox="1"/>
          <p:nvPr/>
        </p:nvSpPr>
        <p:spPr>
          <a:xfrm>
            <a:off x="3082482" y="3686877"/>
            <a:ext cx="914206" cy="276999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CA" sz="1200" dirty="0" smtClean="0">
                <a:latin typeface="Century Gothic" panose="020B0502020202020204" pitchFamily="34" charset="0"/>
              </a:rPr>
              <a:t>Kaolack</a:t>
            </a:r>
            <a:endParaRPr lang="fr-CA" sz="1200" dirty="0">
              <a:latin typeface="Century Gothic" panose="020B0502020202020204" pitchFamily="34" charset="0"/>
            </a:endParaRPr>
          </a:p>
        </p:txBody>
      </p:sp>
      <p:pic>
        <p:nvPicPr>
          <p:cNvPr id="94" name="Shape 806"/>
          <p:cNvPicPr preferRelativeResize="0"/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21881" y="-30392"/>
            <a:ext cx="1030643" cy="7607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75321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" name="Shape 737"/>
          <p:cNvSpPr txBox="1"/>
          <p:nvPr/>
        </p:nvSpPr>
        <p:spPr>
          <a:xfrm>
            <a:off x="7271500" y="1049457"/>
            <a:ext cx="4920500" cy="603755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1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entury Gothic"/>
              <a:buNone/>
            </a:pPr>
            <a:r>
              <a:rPr lang="fr-CA" sz="1800" b="1" i="0" u="sng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e projet :</a:t>
            </a:r>
          </a:p>
          <a:p>
            <a:pPr marL="0" marR="0" lvl="1" algn="l" rtl="0">
              <a:spcBef>
                <a:spcPts val="0"/>
              </a:spcBef>
              <a:buClr>
                <a:schemeClr val="accent1"/>
              </a:buClr>
              <a:buSzPct val="100000"/>
            </a:pPr>
            <a:endParaRPr lang="fr-CA" sz="18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342900" marR="0" lvl="1" indent="-342900" algn="l" rtl="0">
              <a:spcBef>
                <a:spcPts val="0"/>
              </a:spcBef>
              <a:buClr>
                <a:schemeClr val="accent1"/>
              </a:buClr>
              <a:buSzPct val="100000"/>
              <a:buFont typeface="Noto Sans Symbols"/>
              <a:buChar char="•"/>
            </a:pPr>
            <a:r>
              <a:rPr lang="fr-CA" sz="1800" b="1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Type de réhabilitation</a:t>
            </a:r>
            <a:r>
              <a:rPr lang="fr-CA" sz="18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: Mise à niveau en conformité </a:t>
            </a:r>
            <a:r>
              <a:rPr lang="fr-CA" sz="1800" b="0" i="0" u="none" strike="noStrike" cap="none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vec les normes </a:t>
            </a:r>
            <a:r>
              <a:rPr lang="fr-CA" sz="18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e sûreté et de sécurité de </a:t>
            </a:r>
            <a:r>
              <a:rPr lang="fr-CA" sz="1800" b="0" i="0" u="none" strike="noStrike" cap="none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’OACI et d’un niveau de service IATA-B</a:t>
            </a:r>
            <a:endParaRPr lang="fr-CA" sz="18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342900" marR="0" lvl="1" indent="-342900" algn="l" rtl="0">
              <a:spcBef>
                <a:spcPts val="0"/>
              </a:spcBef>
              <a:buClr>
                <a:schemeClr val="accent1"/>
              </a:buClr>
              <a:buSzPct val="100000"/>
              <a:buFont typeface="Noto Sans Symbols"/>
              <a:buChar char="•"/>
            </a:pPr>
            <a:r>
              <a:rPr lang="fr-CA" sz="1800" b="1" i="0" u="none" strike="noStrike" cap="none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iorité au démarrage 2017 </a:t>
            </a:r>
            <a:r>
              <a:rPr lang="fr-CA" sz="1800" b="0" i="0" u="none" strike="noStrike" cap="none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: </a:t>
            </a:r>
            <a:r>
              <a:rPr lang="fr-CA" sz="18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aint-Louis, Ziguinchor, Matam, </a:t>
            </a:r>
            <a:r>
              <a:rPr lang="fr-CA" sz="1800" b="0" i="0" u="none" strike="noStrike" cap="none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Tambacounda et Kédougou</a:t>
            </a:r>
            <a:endParaRPr lang="fr-CA" sz="18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1" indent="0" algn="l" rtl="0">
              <a:spcBef>
                <a:spcPts val="0"/>
              </a:spcBef>
              <a:buNone/>
            </a:pPr>
            <a:endParaRPr sz="18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1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entury Gothic"/>
              <a:buNone/>
            </a:pPr>
            <a:r>
              <a:rPr lang="fr-CA" sz="1800" b="1" i="0" u="sng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Objectifs visés :</a:t>
            </a:r>
          </a:p>
          <a:p>
            <a:pPr marL="0" marR="0" lvl="1" indent="0" algn="l" rtl="0">
              <a:spcBef>
                <a:spcPts val="0"/>
              </a:spcBef>
              <a:buClr>
                <a:schemeClr val="dk1"/>
              </a:buClr>
              <a:buFont typeface="Century Gothic"/>
              <a:buNone/>
            </a:pPr>
            <a:endParaRPr sz="1800" b="1" i="0" u="sng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342900" marR="0" lvl="1" indent="-342900" algn="l" rtl="0">
              <a:spcBef>
                <a:spcPts val="0"/>
              </a:spcBef>
              <a:buClr>
                <a:schemeClr val="accent1"/>
              </a:buClr>
              <a:buSzPct val="100000"/>
              <a:buFont typeface="Noto Sans Symbols"/>
              <a:buChar char="•"/>
            </a:pPr>
            <a:r>
              <a:rPr lang="fr-CA" sz="18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articiper au désenclavement des régions du Sénégal</a:t>
            </a:r>
          </a:p>
          <a:p>
            <a:pPr marL="342900" marR="0" lvl="1" indent="-342900" algn="l" rtl="0">
              <a:spcBef>
                <a:spcPts val="0"/>
              </a:spcBef>
              <a:buClr>
                <a:schemeClr val="accent1"/>
              </a:buClr>
              <a:buSzPct val="100000"/>
              <a:buFont typeface="Noto Sans Symbols"/>
              <a:buChar char="•"/>
            </a:pPr>
            <a:r>
              <a:rPr lang="fr-CA" sz="18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épondre aux normes de sécurité de sûreté internationales </a:t>
            </a:r>
          </a:p>
          <a:p>
            <a:pPr marL="342900" marR="0" lvl="1" indent="-342900" algn="l" rtl="0">
              <a:spcBef>
                <a:spcPts val="0"/>
              </a:spcBef>
              <a:buClr>
                <a:schemeClr val="accent1"/>
              </a:buClr>
              <a:buSzPct val="100000"/>
              <a:buFont typeface="Noto Sans Symbols"/>
              <a:buChar char="•"/>
            </a:pPr>
            <a:r>
              <a:rPr lang="fr-CA" sz="18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ynamiser les secteurs clés de l’économie dont le tourisme, le secteur minier, le maraichage etc.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1" indent="0" algn="l" rtl="0">
              <a:spcBef>
                <a:spcPts val="1000"/>
              </a:spcBef>
              <a:buNone/>
            </a:pPr>
            <a:endParaRPr sz="1800" b="0" i="0" u="none" strike="noStrike" cap="none" dirty="0">
              <a:solidFill>
                <a:srgbClr val="3F3F3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l" rtl="0">
              <a:spcBef>
                <a:spcPts val="0"/>
              </a:spcBef>
              <a:buNone/>
            </a:pPr>
            <a:endParaRPr sz="1800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38" name="Shape 738"/>
          <p:cNvSpPr txBox="1"/>
          <p:nvPr/>
        </p:nvSpPr>
        <p:spPr>
          <a:xfrm>
            <a:off x="1645016" y="177800"/>
            <a:ext cx="9928916" cy="52321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fr-CA" sz="2000" b="1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HASE I : RÉHABILITATION DE 5 AÉRODROMES SUR FINANCEMENT EXTERNE</a:t>
            </a:r>
            <a:endParaRPr lang="fr-CA" sz="2000" b="1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0" name="Shape 716"/>
          <p:cNvSpPr/>
          <p:nvPr/>
        </p:nvSpPr>
        <p:spPr>
          <a:xfrm>
            <a:off x="901038" y="3206596"/>
            <a:ext cx="277988" cy="293559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1" name="Shape 717"/>
          <p:cNvSpPr/>
          <p:nvPr/>
        </p:nvSpPr>
        <p:spPr>
          <a:xfrm>
            <a:off x="970189" y="3279621"/>
            <a:ext cx="139686" cy="14751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rnd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grpSp>
        <p:nvGrpSpPr>
          <p:cNvPr id="692" name="Shape 692"/>
          <p:cNvGrpSpPr/>
          <p:nvPr/>
        </p:nvGrpSpPr>
        <p:grpSpPr>
          <a:xfrm>
            <a:off x="661565" y="1211849"/>
            <a:ext cx="6669542" cy="5127995"/>
            <a:chOff x="828782" y="1032186"/>
            <a:chExt cx="6669542" cy="5127995"/>
          </a:xfrm>
        </p:grpSpPr>
        <p:grpSp>
          <p:nvGrpSpPr>
            <p:cNvPr id="693" name="Shape 693"/>
            <p:cNvGrpSpPr/>
            <p:nvPr/>
          </p:nvGrpSpPr>
          <p:grpSpPr>
            <a:xfrm>
              <a:off x="828782" y="1032186"/>
              <a:ext cx="6465603" cy="5127995"/>
              <a:chOff x="849596" y="1025155"/>
              <a:chExt cx="5866523" cy="4406062"/>
            </a:xfrm>
          </p:grpSpPr>
          <p:grpSp>
            <p:nvGrpSpPr>
              <p:cNvPr id="694" name="Shape 694"/>
              <p:cNvGrpSpPr/>
              <p:nvPr/>
            </p:nvGrpSpPr>
            <p:grpSpPr>
              <a:xfrm>
                <a:off x="849596" y="1025155"/>
                <a:ext cx="5866523" cy="4406062"/>
                <a:chOff x="1537340" y="1223262"/>
                <a:chExt cx="5973634" cy="4486512"/>
              </a:xfrm>
            </p:grpSpPr>
            <p:sp>
              <p:nvSpPr>
                <p:cNvPr id="695" name="Shape 695"/>
                <p:cNvSpPr/>
                <p:nvPr/>
              </p:nvSpPr>
              <p:spPr>
                <a:xfrm>
                  <a:off x="2614939" y="1223262"/>
                  <a:ext cx="2692139" cy="95218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714" y="102000"/>
                      </a:moveTo>
                      <a:lnTo>
                        <a:pt x="9795" y="103333"/>
                      </a:lnTo>
                      <a:lnTo>
                        <a:pt x="13959" y="102666"/>
                      </a:lnTo>
                      <a:lnTo>
                        <a:pt x="17632" y="89333"/>
                      </a:lnTo>
                      <a:lnTo>
                        <a:pt x="21551" y="81333"/>
                      </a:lnTo>
                      <a:lnTo>
                        <a:pt x="24979" y="68000"/>
                      </a:lnTo>
                      <a:lnTo>
                        <a:pt x="30122" y="62000"/>
                      </a:lnTo>
                      <a:lnTo>
                        <a:pt x="34775" y="61333"/>
                      </a:lnTo>
                      <a:lnTo>
                        <a:pt x="36734" y="58000"/>
                      </a:lnTo>
                      <a:lnTo>
                        <a:pt x="42122" y="78000"/>
                      </a:lnTo>
                      <a:lnTo>
                        <a:pt x="43591" y="80666"/>
                      </a:lnTo>
                      <a:lnTo>
                        <a:pt x="55836" y="76000"/>
                      </a:lnTo>
                      <a:lnTo>
                        <a:pt x="68326" y="76666"/>
                      </a:lnTo>
                      <a:lnTo>
                        <a:pt x="75183" y="80000"/>
                      </a:lnTo>
                      <a:lnTo>
                        <a:pt x="78612" y="87333"/>
                      </a:lnTo>
                      <a:lnTo>
                        <a:pt x="86448" y="84000"/>
                      </a:lnTo>
                      <a:lnTo>
                        <a:pt x="88897" y="92666"/>
                      </a:lnTo>
                      <a:lnTo>
                        <a:pt x="90612" y="120000"/>
                      </a:lnTo>
                      <a:lnTo>
                        <a:pt x="108979" y="81333"/>
                      </a:lnTo>
                      <a:lnTo>
                        <a:pt x="120000" y="61333"/>
                      </a:lnTo>
                      <a:lnTo>
                        <a:pt x="117795" y="50000"/>
                      </a:lnTo>
                      <a:lnTo>
                        <a:pt x="115102" y="52000"/>
                      </a:lnTo>
                      <a:lnTo>
                        <a:pt x="112163" y="48666"/>
                      </a:lnTo>
                      <a:lnTo>
                        <a:pt x="112408" y="41333"/>
                      </a:lnTo>
                      <a:lnTo>
                        <a:pt x="109959" y="34666"/>
                      </a:lnTo>
                      <a:lnTo>
                        <a:pt x="105061" y="24666"/>
                      </a:lnTo>
                      <a:lnTo>
                        <a:pt x="103591" y="22000"/>
                      </a:lnTo>
                      <a:lnTo>
                        <a:pt x="102122" y="16000"/>
                      </a:lnTo>
                      <a:lnTo>
                        <a:pt x="100653" y="20000"/>
                      </a:lnTo>
                      <a:lnTo>
                        <a:pt x="98938" y="13333"/>
                      </a:lnTo>
                      <a:lnTo>
                        <a:pt x="96489" y="12666"/>
                      </a:lnTo>
                      <a:lnTo>
                        <a:pt x="91836" y="8666"/>
                      </a:lnTo>
                      <a:lnTo>
                        <a:pt x="89142" y="10666"/>
                      </a:lnTo>
                      <a:lnTo>
                        <a:pt x="82285" y="8000"/>
                      </a:lnTo>
                      <a:lnTo>
                        <a:pt x="74448" y="4000"/>
                      </a:lnTo>
                      <a:lnTo>
                        <a:pt x="71510" y="1333"/>
                      </a:lnTo>
                      <a:lnTo>
                        <a:pt x="69306" y="0"/>
                      </a:lnTo>
                      <a:lnTo>
                        <a:pt x="68081" y="5333"/>
                      </a:lnTo>
                      <a:lnTo>
                        <a:pt x="63918" y="6000"/>
                      </a:lnTo>
                      <a:lnTo>
                        <a:pt x="63918" y="11333"/>
                      </a:lnTo>
                      <a:lnTo>
                        <a:pt x="61959" y="10000"/>
                      </a:lnTo>
                      <a:lnTo>
                        <a:pt x="58040" y="10000"/>
                      </a:lnTo>
                      <a:lnTo>
                        <a:pt x="55836" y="11333"/>
                      </a:lnTo>
                      <a:lnTo>
                        <a:pt x="51428" y="18000"/>
                      </a:lnTo>
                      <a:lnTo>
                        <a:pt x="48489" y="13333"/>
                      </a:lnTo>
                      <a:lnTo>
                        <a:pt x="46285" y="13333"/>
                      </a:lnTo>
                      <a:lnTo>
                        <a:pt x="42367" y="18000"/>
                      </a:lnTo>
                      <a:lnTo>
                        <a:pt x="39673" y="23333"/>
                      </a:lnTo>
                      <a:lnTo>
                        <a:pt x="35510" y="20000"/>
                      </a:lnTo>
                      <a:lnTo>
                        <a:pt x="32816" y="18000"/>
                      </a:lnTo>
                      <a:lnTo>
                        <a:pt x="30857" y="18000"/>
                      </a:lnTo>
                      <a:lnTo>
                        <a:pt x="28163" y="17333"/>
                      </a:lnTo>
                      <a:lnTo>
                        <a:pt x="25714" y="19333"/>
                      </a:lnTo>
                      <a:lnTo>
                        <a:pt x="24734" y="16000"/>
                      </a:lnTo>
                      <a:lnTo>
                        <a:pt x="24000" y="10000"/>
                      </a:lnTo>
                      <a:lnTo>
                        <a:pt x="20326" y="12000"/>
                      </a:lnTo>
                      <a:lnTo>
                        <a:pt x="18367" y="13333"/>
                      </a:lnTo>
                      <a:lnTo>
                        <a:pt x="15673" y="16000"/>
                      </a:lnTo>
                      <a:lnTo>
                        <a:pt x="15673" y="22000"/>
                      </a:lnTo>
                      <a:lnTo>
                        <a:pt x="12244" y="32666"/>
                      </a:lnTo>
                      <a:lnTo>
                        <a:pt x="10285" y="38666"/>
                      </a:lnTo>
                      <a:lnTo>
                        <a:pt x="7346" y="43333"/>
                      </a:lnTo>
                      <a:lnTo>
                        <a:pt x="7102" y="50000"/>
                      </a:lnTo>
                      <a:lnTo>
                        <a:pt x="7102" y="57333"/>
                      </a:lnTo>
                      <a:lnTo>
                        <a:pt x="6122" y="61333"/>
                      </a:lnTo>
                      <a:lnTo>
                        <a:pt x="3428" y="65333"/>
                      </a:lnTo>
                      <a:lnTo>
                        <a:pt x="1469" y="68666"/>
                      </a:lnTo>
                      <a:lnTo>
                        <a:pt x="0" y="74000"/>
                      </a:lnTo>
                      <a:lnTo>
                        <a:pt x="244" y="88666"/>
                      </a:lnTo>
                      <a:lnTo>
                        <a:pt x="1959" y="80000"/>
                      </a:lnTo>
                      <a:lnTo>
                        <a:pt x="3183" y="74666"/>
                      </a:lnTo>
                      <a:lnTo>
                        <a:pt x="3183" y="84666"/>
                      </a:lnTo>
                      <a:lnTo>
                        <a:pt x="1714" y="88000"/>
                      </a:lnTo>
                      <a:lnTo>
                        <a:pt x="2448" y="94000"/>
                      </a:lnTo>
                      <a:lnTo>
                        <a:pt x="1714" y="10200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696" name="Shape 696"/>
                <p:cNvSpPr/>
                <p:nvPr/>
              </p:nvSpPr>
              <p:spPr>
                <a:xfrm>
                  <a:off x="2372450" y="1668290"/>
                  <a:ext cx="2477862" cy="16081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5055" y="48947"/>
                      </a:moveTo>
                      <a:lnTo>
                        <a:pt x="8248" y="41052"/>
                      </a:lnTo>
                      <a:lnTo>
                        <a:pt x="9312" y="36315"/>
                      </a:lnTo>
                      <a:lnTo>
                        <a:pt x="13569" y="25657"/>
                      </a:lnTo>
                      <a:lnTo>
                        <a:pt x="27937" y="26447"/>
                      </a:lnTo>
                      <a:lnTo>
                        <a:pt x="30066" y="20526"/>
                      </a:lnTo>
                      <a:lnTo>
                        <a:pt x="35121" y="14605"/>
                      </a:lnTo>
                      <a:lnTo>
                        <a:pt x="39113" y="7500"/>
                      </a:lnTo>
                      <a:lnTo>
                        <a:pt x="42572" y="2763"/>
                      </a:lnTo>
                      <a:lnTo>
                        <a:pt x="48159" y="2368"/>
                      </a:lnTo>
                      <a:lnTo>
                        <a:pt x="51618" y="0"/>
                      </a:lnTo>
                      <a:lnTo>
                        <a:pt x="57738" y="11447"/>
                      </a:lnTo>
                      <a:lnTo>
                        <a:pt x="61197" y="12631"/>
                      </a:lnTo>
                      <a:lnTo>
                        <a:pt x="77427" y="9868"/>
                      </a:lnTo>
                      <a:lnTo>
                        <a:pt x="93126" y="11842"/>
                      </a:lnTo>
                      <a:lnTo>
                        <a:pt x="97383" y="17368"/>
                      </a:lnTo>
                      <a:lnTo>
                        <a:pt x="105365" y="15000"/>
                      </a:lnTo>
                      <a:lnTo>
                        <a:pt x="108292" y="18947"/>
                      </a:lnTo>
                      <a:lnTo>
                        <a:pt x="110155" y="35131"/>
                      </a:lnTo>
                      <a:lnTo>
                        <a:pt x="111219" y="48157"/>
                      </a:lnTo>
                      <a:lnTo>
                        <a:pt x="108558" y="53684"/>
                      </a:lnTo>
                      <a:lnTo>
                        <a:pt x="105898" y="56052"/>
                      </a:lnTo>
                      <a:lnTo>
                        <a:pt x="103769" y="65921"/>
                      </a:lnTo>
                      <a:lnTo>
                        <a:pt x="102172" y="78947"/>
                      </a:lnTo>
                      <a:lnTo>
                        <a:pt x="104301" y="83684"/>
                      </a:lnTo>
                      <a:lnTo>
                        <a:pt x="108026" y="84078"/>
                      </a:lnTo>
                      <a:lnTo>
                        <a:pt x="112815" y="88026"/>
                      </a:lnTo>
                      <a:lnTo>
                        <a:pt x="118137" y="93947"/>
                      </a:lnTo>
                      <a:lnTo>
                        <a:pt x="120000" y="99078"/>
                      </a:lnTo>
                      <a:lnTo>
                        <a:pt x="114944" y="105394"/>
                      </a:lnTo>
                      <a:lnTo>
                        <a:pt x="110953" y="112500"/>
                      </a:lnTo>
                      <a:lnTo>
                        <a:pt x="107228" y="118421"/>
                      </a:lnTo>
                      <a:lnTo>
                        <a:pt x="103769" y="120000"/>
                      </a:lnTo>
                      <a:lnTo>
                        <a:pt x="101906" y="117236"/>
                      </a:lnTo>
                      <a:lnTo>
                        <a:pt x="98181" y="115657"/>
                      </a:lnTo>
                      <a:lnTo>
                        <a:pt x="92328" y="114473"/>
                      </a:lnTo>
                      <a:lnTo>
                        <a:pt x="88070" y="114473"/>
                      </a:lnTo>
                      <a:lnTo>
                        <a:pt x="84345" y="109736"/>
                      </a:lnTo>
                      <a:lnTo>
                        <a:pt x="82483" y="106973"/>
                      </a:lnTo>
                      <a:lnTo>
                        <a:pt x="80620" y="108157"/>
                      </a:lnTo>
                      <a:lnTo>
                        <a:pt x="77427" y="112500"/>
                      </a:lnTo>
                      <a:lnTo>
                        <a:pt x="72904" y="117236"/>
                      </a:lnTo>
                      <a:lnTo>
                        <a:pt x="66518" y="112500"/>
                      </a:lnTo>
                      <a:lnTo>
                        <a:pt x="62261" y="106578"/>
                      </a:lnTo>
                      <a:lnTo>
                        <a:pt x="61729" y="101842"/>
                      </a:lnTo>
                      <a:lnTo>
                        <a:pt x="61463" y="98289"/>
                      </a:lnTo>
                      <a:lnTo>
                        <a:pt x="59068" y="98684"/>
                      </a:lnTo>
                      <a:lnTo>
                        <a:pt x="57472" y="99473"/>
                      </a:lnTo>
                      <a:lnTo>
                        <a:pt x="55343" y="96315"/>
                      </a:lnTo>
                      <a:lnTo>
                        <a:pt x="52150" y="96315"/>
                      </a:lnTo>
                      <a:lnTo>
                        <a:pt x="50022" y="98289"/>
                      </a:lnTo>
                      <a:lnTo>
                        <a:pt x="44700" y="96710"/>
                      </a:lnTo>
                      <a:lnTo>
                        <a:pt x="36984" y="95131"/>
                      </a:lnTo>
                      <a:lnTo>
                        <a:pt x="31396" y="94342"/>
                      </a:lnTo>
                      <a:lnTo>
                        <a:pt x="31130" y="88026"/>
                      </a:lnTo>
                      <a:lnTo>
                        <a:pt x="31396" y="77368"/>
                      </a:lnTo>
                      <a:lnTo>
                        <a:pt x="29534" y="75789"/>
                      </a:lnTo>
                      <a:lnTo>
                        <a:pt x="26341" y="72631"/>
                      </a:lnTo>
                      <a:lnTo>
                        <a:pt x="23680" y="69868"/>
                      </a:lnTo>
                      <a:lnTo>
                        <a:pt x="22084" y="64736"/>
                      </a:lnTo>
                      <a:lnTo>
                        <a:pt x="21019" y="60789"/>
                      </a:lnTo>
                      <a:lnTo>
                        <a:pt x="18093" y="65131"/>
                      </a:lnTo>
                      <a:lnTo>
                        <a:pt x="14634" y="68684"/>
                      </a:lnTo>
                      <a:lnTo>
                        <a:pt x="10643" y="75000"/>
                      </a:lnTo>
                      <a:lnTo>
                        <a:pt x="8514" y="76578"/>
                      </a:lnTo>
                      <a:lnTo>
                        <a:pt x="1862" y="70657"/>
                      </a:lnTo>
                      <a:lnTo>
                        <a:pt x="0" y="68289"/>
                      </a:lnTo>
                      <a:lnTo>
                        <a:pt x="5853" y="54473"/>
                      </a:lnTo>
                      <a:lnTo>
                        <a:pt x="5055" y="48947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697" name="Shape 697"/>
                <p:cNvSpPr/>
                <p:nvPr/>
              </p:nvSpPr>
              <p:spPr>
                <a:xfrm>
                  <a:off x="4467214" y="1662998"/>
                  <a:ext cx="1889989" cy="19361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0465" y="30163"/>
                      </a:moveTo>
                      <a:lnTo>
                        <a:pt x="53023" y="1967"/>
                      </a:lnTo>
                      <a:lnTo>
                        <a:pt x="55813" y="1967"/>
                      </a:lnTo>
                      <a:lnTo>
                        <a:pt x="58953" y="0"/>
                      </a:lnTo>
                      <a:lnTo>
                        <a:pt x="63837" y="1639"/>
                      </a:lnTo>
                      <a:lnTo>
                        <a:pt x="68023" y="655"/>
                      </a:lnTo>
                      <a:lnTo>
                        <a:pt x="73255" y="3278"/>
                      </a:lnTo>
                      <a:lnTo>
                        <a:pt x="73604" y="6229"/>
                      </a:lnTo>
                      <a:lnTo>
                        <a:pt x="78837" y="7868"/>
                      </a:lnTo>
                      <a:lnTo>
                        <a:pt x="82674" y="12786"/>
                      </a:lnTo>
                      <a:lnTo>
                        <a:pt x="83023" y="18360"/>
                      </a:lnTo>
                      <a:lnTo>
                        <a:pt x="84767" y="22950"/>
                      </a:lnTo>
                      <a:lnTo>
                        <a:pt x="85465" y="27540"/>
                      </a:lnTo>
                      <a:lnTo>
                        <a:pt x="86860" y="31147"/>
                      </a:lnTo>
                      <a:lnTo>
                        <a:pt x="87906" y="36721"/>
                      </a:lnTo>
                      <a:lnTo>
                        <a:pt x="90697" y="39016"/>
                      </a:lnTo>
                      <a:lnTo>
                        <a:pt x="93488" y="40327"/>
                      </a:lnTo>
                      <a:lnTo>
                        <a:pt x="94186" y="43934"/>
                      </a:lnTo>
                      <a:lnTo>
                        <a:pt x="94186" y="46885"/>
                      </a:lnTo>
                      <a:lnTo>
                        <a:pt x="104302" y="45901"/>
                      </a:lnTo>
                      <a:lnTo>
                        <a:pt x="105697" y="52786"/>
                      </a:lnTo>
                      <a:lnTo>
                        <a:pt x="103953" y="56065"/>
                      </a:lnTo>
                      <a:lnTo>
                        <a:pt x="105000" y="59672"/>
                      </a:lnTo>
                      <a:lnTo>
                        <a:pt x="108488" y="62622"/>
                      </a:lnTo>
                      <a:lnTo>
                        <a:pt x="109883" y="65901"/>
                      </a:lnTo>
                      <a:lnTo>
                        <a:pt x="112674" y="69180"/>
                      </a:lnTo>
                      <a:lnTo>
                        <a:pt x="118604" y="72786"/>
                      </a:lnTo>
                      <a:lnTo>
                        <a:pt x="117209" y="75737"/>
                      </a:lnTo>
                      <a:lnTo>
                        <a:pt x="117558" y="83606"/>
                      </a:lnTo>
                      <a:lnTo>
                        <a:pt x="120000" y="88196"/>
                      </a:lnTo>
                      <a:lnTo>
                        <a:pt x="119651" y="91803"/>
                      </a:lnTo>
                      <a:lnTo>
                        <a:pt x="114069" y="99672"/>
                      </a:lnTo>
                      <a:lnTo>
                        <a:pt x="106395" y="105573"/>
                      </a:lnTo>
                      <a:lnTo>
                        <a:pt x="102906" y="105245"/>
                      </a:lnTo>
                      <a:lnTo>
                        <a:pt x="88604" y="103278"/>
                      </a:lnTo>
                      <a:lnTo>
                        <a:pt x="85465" y="104590"/>
                      </a:lnTo>
                      <a:lnTo>
                        <a:pt x="78488" y="115081"/>
                      </a:lnTo>
                      <a:lnTo>
                        <a:pt x="75697" y="116721"/>
                      </a:lnTo>
                      <a:lnTo>
                        <a:pt x="69418" y="120000"/>
                      </a:lnTo>
                      <a:lnTo>
                        <a:pt x="56162" y="117049"/>
                      </a:lnTo>
                      <a:lnTo>
                        <a:pt x="44302" y="111475"/>
                      </a:lnTo>
                      <a:lnTo>
                        <a:pt x="35930" y="105901"/>
                      </a:lnTo>
                      <a:lnTo>
                        <a:pt x="23372" y="97704"/>
                      </a:lnTo>
                      <a:lnTo>
                        <a:pt x="16744" y="92459"/>
                      </a:lnTo>
                      <a:lnTo>
                        <a:pt x="13953" y="91147"/>
                      </a:lnTo>
                      <a:lnTo>
                        <a:pt x="24069" y="82950"/>
                      </a:lnTo>
                      <a:lnTo>
                        <a:pt x="20581" y="78688"/>
                      </a:lnTo>
                      <a:lnTo>
                        <a:pt x="15000" y="73770"/>
                      </a:lnTo>
                      <a:lnTo>
                        <a:pt x="6976" y="70163"/>
                      </a:lnTo>
                      <a:lnTo>
                        <a:pt x="1395" y="68852"/>
                      </a:lnTo>
                      <a:lnTo>
                        <a:pt x="348" y="64918"/>
                      </a:lnTo>
                      <a:lnTo>
                        <a:pt x="0" y="60327"/>
                      </a:lnTo>
                      <a:lnTo>
                        <a:pt x="4186" y="46885"/>
                      </a:lnTo>
                      <a:lnTo>
                        <a:pt x="8720" y="44262"/>
                      </a:lnTo>
                      <a:lnTo>
                        <a:pt x="11162" y="40327"/>
                      </a:lnTo>
                      <a:lnTo>
                        <a:pt x="11511" y="35409"/>
                      </a:lnTo>
                      <a:lnTo>
                        <a:pt x="10465" y="30163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698" name="Shape 698"/>
                <p:cNvSpPr/>
                <p:nvPr/>
              </p:nvSpPr>
              <p:spPr>
                <a:xfrm>
                  <a:off x="4004362" y="2832490"/>
                  <a:ext cx="3133010" cy="260220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8842" y="244"/>
                      </a:moveTo>
                      <a:lnTo>
                        <a:pt x="91157" y="0"/>
                      </a:lnTo>
                      <a:lnTo>
                        <a:pt x="96210" y="4163"/>
                      </a:lnTo>
                      <a:lnTo>
                        <a:pt x="98736" y="6857"/>
                      </a:lnTo>
                      <a:lnTo>
                        <a:pt x="100210" y="10285"/>
                      </a:lnTo>
                      <a:lnTo>
                        <a:pt x="103157" y="12734"/>
                      </a:lnTo>
                      <a:lnTo>
                        <a:pt x="105894" y="14938"/>
                      </a:lnTo>
                      <a:lnTo>
                        <a:pt x="108631" y="18612"/>
                      </a:lnTo>
                      <a:lnTo>
                        <a:pt x="109473" y="22775"/>
                      </a:lnTo>
                      <a:lnTo>
                        <a:pt x="107578" y="25959"/>
                      </a:lnTo>
                      <a:lnTo>
                        <a:pt x="106736" y="28897"/>
                      </a:lnTo>
                      <a:lnTo>
                        <a:pt x="108631" y="32081"/>
                      </a:lnTo>
                      <a:lnTo>
                        <a:pt x="110315" y="35265"/>
                      </a:lnTo>
                      <a:lnTo>
                        <a:pt x="112210" y="36000"/>
                      </a:lnTo>
                      <a:lnTo>
                        <a:pt x="113052" y="42857"/>
                      </a:lnTo>
                      <a:lnTo>
                        <a:pt x="113052" y="45061"/>
                      </a:lnTo>
                      <a:lnTo>
                        <a:pt x="110526" y="51673"/>
                      </a:lnTo>
                      <a:lnTo>
                        <a:pt x="110315" y="54612"/>
                      </a:lnTo>
                      <a:lnTo>
                        <a:pt x="111578" y="57795"/>
                      </a:lnTo>
                      <a:lnTo>
                        <a:pt x="113263" y="60000"/>
                      </a:lnTo>
                      <a:lnTo>
                        <a:pt x="113052" y="64408"/>
                      </a:lnTo>
                      <a:lnTo>
                        <a:pt x="109684" y="69306"/>
                      </a:lnTo>
                      <a:lnTo>
                        <a:pt x="108631" y="71510"/>
                      </a:lnTo>
                      <a:lnTo>
                        <a:pt x="110736" y="72734"/>
                      </a:lnTo>
                      <a:lnTo>
                        <a:pt x="113684" y="75673"/>
                      </a:lnTo>
                      <a:lnTo>
                        <a:pt x="113894" y="77877"/>
                      </a:lnTo>
                      <a:lnTo>
                        <a:pt x="119999" y="82775"/>
                      </a:lnTo>
                      <a:cubicBezTo>
                        <a:pt x="119315" y="83448"/>
                        <a:pt x="118631" y="84122"/>
                        <a:pt x="117894" y="84734"/>
                      </a:cubicBezTo>
                      <a:cubicBezTo>
                        <a:pt x="117526" y="85040"/>
                        <a:pt x="116631" y="85469"/>
                        <a:pt x="116631" y="85469"/>
                      </a:cubicBezTo>
                      <a:lnTo>
                        <a:pt x="114105" y="86204"/>
                      </a:lnTo>
                      <a:cubicBezTo>
                        <a:pt x="113421" y="86632"/>
                        <a:pt x="112631" y="86938"/>
                        <a:pt x="112000" y="87428"/>
                      </a:cubicBezTo>
                      <a:cubicBezTo>
                        <a:pt x="111789" y="87612"/>
                        <a:pt x="111578" y="88163"/>
                        <a:pt x="111578" y="88163"/>
                      </a:cubicBezTo>
                      <a:lnTo>
                        <a:pt x="108421" y="85714"/>
                      </a:lnTo>
                      <a:lnTo>
                        <a:pt x="103157" y="82285"/>
                      </a:lnTo>
                      <a:lnTo>
                        <a:pt x="101263" y="81795"/>
                      </a:lnTo>
                      <a:lnTo>
                        <a:pt x="101052" y="84489"/>
                      </a:lnTo>
                      <a:lnTo>
                        <a:pt x="101684" y="86938"/>
                      </a:lnTo>
                      <a:lnTo>
                        <a:pt x="98947" y="88653"/>
                      </a:lnTo>
                      <a:lnTo>
                        <a:pt x="97894" y="91836"/>
                      </a:lnTo>
                      <a:lnTo>
                        <a:pt x="96210" y="89387"/>
                      </a:lnTo>
                      <a:lnTo>
                        <a:pt x="93263" y="89632"/>
                      </a:lnTo>
                      <a:lnTo>
                        <a:pt x="91578" y="93306"/>
                      </a:lnTo>
                      <a:lnTo>
                        <a:pt x="89473" y="94530"/>
                      </a:lnTo>
                      <a:lnTo>
                        <a:pt x="86736" y="94040"/>
                      </a:lnTo>
                      <a:lnTo>
                        <a:pt x="83368" y="95265"/>
                      </a:lnTo>
                      <a:lnTo>
                        <a:pt x="82526" y="97959"/>
                      </a:lnTo>
                      <a:lnTo>
                        <a:pt x="81473" y="99183"/>
                      </a:lnTo>
                      <a:cubicBezTo>
                        <a:pt x="80000" y="100040"/>
                        <a:pt x="77842" y="100775"/>
                        <a:pt x="77052" y="102612"/>
                      </a:cubicBezTo>
                      <a:lnTo>
                        <a:pt x="73894" y="101387"/>
                      </a:lnTo>
                      <a:lnTo>
                        <a:pt x="72631" y="100163"/>
                      </a:lnTo>
                      <a:lnTo>
                        <a:pt x="70315" y="99428"/>
                      </a:lnTo>
                      <a:lnTo>
                        <a:pt x="68631" y="100163"/>
                      </a:lnTo>
                      <a:lnTo>
                        <a:pt x="66315" y="100653"/>
                      </a:lnTo>
                      <a:lnTo>
                        <a:pt x="64631" y="100653"/>
                      </a:lnTo>
                      <a:lnTo>
                        <a:pt x="62315" y="100163"/>
                      </a:lnTo>
                      <a:lnTo>
                        <a:pt x="60210" y="100897"/>
                      </a:lnTo>
                      <a:lnTo>
                        <a:pt x="61473" y="103591"/>
                      </a:lnTo>
                      <a:lnTo>
                        <a:pt x="62947" y="105306"/>
                      </a:lnTo>
                      <a:lnTo>
                        <a:pt x="62736" y="107020"/>
                      </a:lnTo>
                      <a:lnTo>
                        <a:pt x="62315" y="110204"/>
                      </a:lnTo>
                      <a:lnTo>
                        <a:pt x="64631" y="111183"/>
                      </a:lnTo>
                      <a:lnTo>
                        <a:pt x="64842" y="112653"/>
                      </a:lnTo>
                      <a:lnTo>
                        <a:pt x="65052" y="116816"/>
                      </a:lnTo>
                      <a:lnTo>
                        <a:pt x="62315" y="120000"/>
                      </a:lnTo>
                      <a:lnTo>
                        <a:pt x="54736" y="119265"/>
                      </a:lnTo>
                      <a:lnTo>
                        <a:pt x="50105" y="103346"/>
                      </a:lnTo>
                      <a:lnTo>
                        <a:pt x="45263" y="85469"/>
                      </a:lnTo>
                      <a:lnTo>
                        <a:pt x="44842" y="83755"/>
                      </a:lnTo>
                      <a:lnTo>
                        <a:pt x="43578" y="81551"/>
                      </a:lnTo>
                      <a:lnTo>
                        <a:pt x="42736" y="80081"/>
                      </a:lnTo>
                      <a:cubicBezTo>
                        <a:pt x="42736" y="79163"/>
                        <a:pt x="42736" y="78306"/>
                        <a:pt x="42736" y="77387"/>
                      </a:cubicBezTo>
                      <a:cubicBezTo>
                        <a:pt x="40421" y="76040"/>
                        <a:pt x="41421" y="76163"/>
                        <a:pt x="40000" y="76163"/>
                      </a:cubicBezTo>
                      <a:lnTo>
                        <a:pt x="39368" y="73959"/>
                      </a:lnTo>
                      <a:cubicBezTo>
                        <a:pt x="37315" y="75551"/>
                        <a:pt x="37473" y="74571"/>
                        <a:pt x="37473" y="76163"/>
                      </a:cubicBezTo>
                      <a:lnTo>
                        <a:pt x="34315" y="74938"/>
                      </a:lnTo>
                      <a:lnTo>
                        <a:pt x="32631" y="73469"/>
                      </a:lnTo>
                      <a:lnTo>
                        <a:pt x="30315" y="74204"/>
                      </a:lnTo>
                      <a:lnTo>
                        <a:pt x="25684" y="75428"/>
                      </a:lnTo>
                      <a:lnTo>
                        <a:pt x="20631" y="76408"/>
                      </a:lnTo>
                      <a:lnTo>
                        <a:pt x="16842" y="75918"/>
                      </a:lnTo>
                      <a:lnTo>
                        <a:pt x="14105" y="73714"/>
                      </a:lnTo>
                      <a:lnTo>
                        <a:pt x="12210" y="71755"/>
                      </a:lnTo>
                      <a:lnTo>
                        <a:pt x="10526" y="70775"/>
                      </a:lnTo>
                      <a:lnTo>
                        <a:pt x="6526" y="70775"/>
                      </a:lnTo>
                      <a:lnTo>
                        <a:pt x="3578" y="70285"/>
                      </a:lnTo>
                      <a:lnTo>
                        <a:pt x="842" y="67591"/>
                      </a:lnTo>
                      <a:lnTo>
                        <a:pt x="0" y="64897"/>
                      </a:lnTo>
                      <a:lnTo>
                        <a:pt x="1684" y="61959"/>
                      </a:lnTo>
                      <a:lnTo>
                        <a:pt x="5894" y="59510"/>
                      </a:lnTo>
                      <a:lnTo>
                        <a:pt x="9894" y="56571"/>
                      </a:lnTo>
                      <a:lnTo>
                        <a:pt x="13473" y="51183"/>
                      </a:lnTo>
                      <a:lnTo>
                        <a:pt x="15578" y="45061"/>
                      </a:lnTo>
                      <a:lnTo>
                        <a:pt x="15157" y="39673"/>
                      </a:lnTo>
                      <a:lnTo>
                        <a:pt x="16421" y="35510"/>
                      </a:lnTo>
                      <a:lnTo>
                        <a:pt x="17052" y="33795"/>
                      </a:lnTo>
                      <a:lnTo>
                        <a:pt x="15368" y="32816"/>
                      </a:lnTo>
                      <a:lnTo>
                        <a:pt x="15368" y="29877"/>
                      </a:lnTo>
                      <a:lnTo>
                        <a:pt x="15789" y="27428"/>
                      </a:lnTo>
                      <a:lnTo>
                        <a:pt x="15789" y="25224"/>
                      </a:lnTo>
                      <a:lnTo>
                        <a:pt x="15368" y="22040"/>
                      </a:lnTo>
                      <a:lnTo>
                        <a:pt x="18736" y="20326"/>
                      </a:lnTo>
                      <a:lnTo>
                        <a:pt x="21473" y="18367"/>
                      </a:lnTo>
                      <a:lnTo>
                        <a:pt x="26105" y="13224"/>
                      </a:lnTo>
                      <a:lnTo>
                        <a:pt x="30736" y="16897"/>
                      </a:lnTo>
                      <a:lnTo>
                        <a:pt x="38105" y="23755"/>
                      </a:lnTo>
                      <a:lnTo>
                        <a:pt x="48210" y="31346"/>
                      </a:lnTo>
                      <a:lnTo>
                        <a:pt x="53894" y="33306"/>
                      </a:lnTo>
                      <a:lnTo>
                        <a:pt x="59368" y="34775"/>
                      </a:lnTo>
                      <a:lnTo>
                        <a:pt x="64631" y="30857"/>
                      </a:lnTo>
                      <a:lnTo>
                        <a:pt x="67368" y="26204"/>
                      </a:lnTo>
                      <a:lnTo>
                        <a:pt x="69894" y="22775"/>
                      </a:lnTo>
                      <a:lnTo>
                        <a:pt x="72210" y="22530"/>
                      </a:lnTo>
                      <a:lnTo>
                        <a:pt x="77473" y="23510"/>
                      </a:lnTo>
                      <a:lnTo>
                        <a:pt x="82105" y="24000"/>
                      </a:lnTo>
                      <a:lnTo>
                        <a:pt x="84842" y="20816"/>
                      </a:lnTo>
                      <a:lnTo>
                        <a:pt x="88421" y="17142"/>
                      </a:lnTo>
                      <a:lnTo>
                        <a:pt x="90105" y="11755"/>
                      </a:lnTo>
                      <a:lnTo>
                        <a:pt x="88842" y="7346"/>
                      </a:lnTo>
                      <a:lnTo>
                        <a:pt x="88421" y="2693"/>
                      </a:lnTo>
                      <a:lnTo>
                        <a:pt x="88842" y="244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699" name="Shape 699"/>
                <p:cNvSpPr/>
                <p:nvPr/>
              </p:nvSpPr>
              <p:spPr>
                <a:xfrm>
                  <a:off x="5571539" y="4614762"/>
                  <a:ext cx="1939435" cy="109501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93824" y="8115"/>
                      </a:moveTo>
                      <a:lnTo>
                        <a:pt x="95524" y="17391"/>
                      </a:lnTo>
                      <a:lnTo>
                        <a:pt x="102322" y="13913"/>
                      </a:lnTo>
                      <a:lnTo>
                        <a:pt x="102662" y="6376"/>
                      </a:lnTo>
                      <a:lnTo>
                        <a:pt x="105382" y="6956"/>
                      </a:lnTo>
                      <a:lnTo>
                        <a:pt x="108441" y="13913"/>
                      </a:lnTo>
                      <a:lnTo>
                        <a:pt x="110141" y="20289"/>
                      </a:lnTo>
                      <a:lnTo>
                        <a:pt x="111501" y="26086"/>
                      </a:lnTo>
                      <a:lnTo>
                        <a:pt x="111501" y="32463"/>
                      </a:lnTo>
                      <a:lnTo>
                        <a:pt x="116260" y="35942"/>
                      </a:lnTo>
                      <a:lnTo>
                        <a:pt x="117280" y="42898"/>
                      </a:lnTo>
                      <a:lnTo>
                        <a:pt x="115240" y="50434"/>
                      </a:lnTo>
                      <a:lnTo>
                        <a:pt x="118640" y="51014"/>
                      </a:lnTo>
                      <a:lnTo>
                        <a:pt x="120000" y="53913"/>
                      </a:lnTo>
                      <a:lnTo>
                        <a:pt x="117280" y="58550"/>
                      </a:lnTo>
                      <a:lnTo>
                        <a:pt x="117280" y="67826"/>
                      </a:lnTo>
                      <a:lnTo>
                        <a:pt x="118300" y="75942"/>
                      </a:lnTo>
                      <a:lnTo>
                        <a:pt x="117960" y="79420"/>
                      </a:lnTo>
                      <a:lnTo>
                        <a:pt x="115240" y="77681"/>
                      </a:lnTo>
                      <a:lnTo>
                        <a:pt x="114220" y="84637"/>
                      </a:lnTo>
                      <a:lnTo>
                        <a:pt x="114560" y="92753"/>
                      </a:lnTo>
                      <a:lnTo>
                        <a:pt x="114220" y="96811"/>
                      </a:lnTo>
                      <a:lnTo>
                        <a:pt x="111841" y="99130"/>
                      </a:lnTo>
                      <a:lnTo>
                        <a:pt x="114900" y="103768"/>
                      </a:lnTo>
                      <a:lnTo>
                        <a:pt x="117280" y="109565"/>
                      </a:lnTo>
                      <a:lnTo>
                        <a:pt x="113881" y="114202"/>
                      </a:lnTo>
                      <a:lnTo>
                        <a:pt x="110481" y="113043"/>
                      </a:lnTo>
                      <a:lnTo>
                        <a:pt x="96883" y="115362"/>
                      </a:lnTo>
                      <a:lnTo>
                        <a:pt x="84985" y="116521"/>
                      </a:lnTo>
                      <a:lnTo>
                        <a:pt x="75467" y="115362"/>
                      </a:lnTo>
                      <a:lnTo>
                        <a:pt x="71048" y="111304"/>
                      </a:lnTo>
                      <a:lnTo>
                        <a:pt x="62889" y="114202"/>
                      </a:lnTo>
                      <a:lnTo>
                        <a:pt x="57790" y="119420"/>
                      </a:lnTo>
                      <a:lnTo>
                        <a:pt x="48611" y="120000"/>
                      </a:lnTo>
                      <a:lnTo>
                        <a:pt x="37733" y="115942"/>
                      </a:lnTo>
                      <a:lnTo>
                        <a:pt x="29235" y="111304"/>
                      </a:lnTo>
                      <a:lnTo>
                        <a:pt x="22096" y="103768"/>
                      </a:lnTo>
                      <a:lnTo>
                        <a:pt x="18356" y="107826"/>
                      </a:lnTo>
                      <a:lnTo>
                        <a:pt x="13597" y="110144"/>
                      </a:lnTo>
                      <a:lnTo>
                        <a:pt x="9518" y="106666"/>
                      </a:lnTo>
                      <a:lnTo>
                        <a:pt x="8158" y="97391"/>
                      </a:lnTo>
                      <a:lnTo>
                        <a:pt x="6118" y="93333"/>
                      </a:lnTo>
                      <a:lnTo>
                        <a:pt x="2039" y="88115"/>
                      </a:lnTo>
                      <a:lnTo>
                        <a:pt x="7138" y="82898"/>
                      </a:lnTo>
                      <a:lnTo>
                        <a:pt x="7138" y="69565"/>
                      </a:lnTo>
                      <a:lnTo>
                        <a:pt x="4079" y="66086"/>
                      </a:lnTo>
                      <a:lnTo>
                        <a:pt x="4419" y="56231"/>
                      </a:lnTo>
                      <a:lnTo>
                        <a:pt x="0" y="43478"/>
                      </a:lnTo>
                      <a:lnTo>
                        <a:pt x="6118" y="44057"/>
                      </a:lnTo>
                      <a:lnTo>
                        <a:pt x="11218" y="43478"/>
                      </a:lnTo>
                      <a:lnTo>
                        <a:pt x="17337" y="40000"/>
                      </a:lnTo>
                      <a:lnTo>
                        <a:pt x="25495" y="47536"/>
                      </a:lnTo>
                      <a:lnTo>
                        <a:pt x="27875" y="49855"/>
                      </a:lnTo>
                      <a:lnTo>
                        <a:pt x="30254" y="42898"/>
                      </a:lnTo>
                      <a:lnTo>
                        <a:pt x="35354" y="39420"/>
                      </a:lnTo>
                      <a:lnTo>
                        <a:pt x="38413" y="29565"/>
                      </a:lnTo>
                      <a:lnTo>
                        <a:pt x="43172" y="29565"/>
                      </a:lnTo>
                      <a:lnTo>
                        <a:pt x="46912" y="28985"/>
                      </a:lnTo>
                      <a:lnTo>
                        <a:pt x="49631" y="26086"/>
                      </a:lnTo>
                      <a:lnTo>
                        <a:pt x="53371" y="17971"/>
                      </a:lnTo>
                      <a:lnTo>
                        <a:pt x="58130" y="17391"/>
                      </a:lnTo>
                      <a:lnTo>
                        <a:pt x="61189" y="20869"/>
                      </a:lnTo>
                      <a:lnTo>
                        <a:pt x="64249" y="12173"/>
                      </a:lnTo>
                      <a:lnTo>
                        <a:pt x="66628" y="11594"/>
                      </a:lnTo>
                      <a:lnTo>
                        <a:pt x="66288" y="0"/>
                      </a:lnTo>
                      <a:lnTo>
                        <a:pt x="68668" y="0"/>
                      </a:lnTo>
                      <a:lnTo>
                        <a:pt x="75467" y="6956"/>
                      </a:lnTo>
                      <a:lnTo>
                        <a:pt x="82606" y="14492"/>
                      </a:lnTo>
                      <a:lnTo>
                        <a:pt x="85325" y="9855"/>
                      </a:lnTo>
                      <a:lnTo>
                        <a:pt x="93824" y="8115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00" name="Shape 700"/>
                <p:cNvSpPr/>
                <p:nvPr/>
              </p:nvSpPr>
              <p:spPr>
                <a:xfrm>
                  <a:off x="3548201" y="4408458"/>
                  <a:ext cx="1889989" cy="100508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20000" y="120000"/>
                      </a:moveTo>
                      <a:lnTo>
                        <a:pt x="79883" y="118736"/>
                      </a:lnTo>
                      <a:lnTo>
                        <a:pt x="28255" y="116210"/>
                      </a:lnTo>
                      <a:lnTo>
                        <a:pt x="15348" y="114315"/>
                      </a:lnTo>
                      <a:lnTo>
                        <a:pt x="9069" y="114315"/>
                      </a:lnTo>
                      <a:lnTo>
                        <a:pt x="11511" y="104210"/>
                      </a:lnTo>
                      <a:lnTo>
                        <a:pt x="12558" y="94736"/>
                      </a:lnTo>
                      <a:lnTo>
                        <a:pt x="13604" y="90947"/>
                      </a:lnTo>
                      <a:lnTo>
                        <a:pt x="13604" y="85263"/>
                      </a:lnTo>
                      <a:lnTo>
                        <a:pt x="11162" y="80842"/>
                      </a:lnTo>
                      <a:lnTo>
                        <a:pt x="10813" y="76421"/>
                      </a:lnTo>
                      <a:lnTo>
                        <a:pt x="10465" y="72000"/>
                      </a:lnTo>
                      <a:lnTo>
                        <a:pt x="6976" y="66947"/>
                      </a:lnTo>
                      <a:lnTo>
                        <a:pt x="6976" y="60000"/>
                      </a:lnTo>
                      <a:lnTo>
                        <a:pt x="5930" y="55578"/>
                      </a:lnTo>
                      <a:lnTo>
                        <a:pt x="5232" y="49263"/>
                      </a:lnTo>
                      <a:lnTo>
                        <a:pt x="2790" y="47368"/>
                      </a:lnTo>
                      <a:lnTo>
                        <a:pt x="0" y="42315"/>
                      </a:lnTo>
                      <a:lnTo>
                        <a:pt x="0" y="37894"/>
                      </a:lnTo>
                      <a:lnTo>
                        <a:pt x="1046" y="34105"/>
                      </a:lnTo>
                      <a:lnTo>
                        <a:pt x="697" y="25894"/>
                      </a:lnTo>
                      <a:lnTo>
                        <a:pt x="697" y="20210"/>
                      </a:lnTo>
                      <a:lnTo>
                        <a:pt x="5232" y="18947"/>
                      </a:lnTo>
                      <a:lnTo>
                        <a:pt x="9767" y="14526"/>
                      </a:lnTo>
                      <a:lnTo>
                        <a:pt x="10813" y="6315"/>
                      </a:lnTo>
                      <a:lnTo>
                        <a:pt x="12558" y="1894"/>
                      </a:lnTo>
                      <a:lnTo>
                        <a:pt x="16744" y="0"/>
                      </a:lnTo>
                      <a:lnTo>
                        <a:pt x="18837" y="6315"/>
                      </a:lnTo>
                      <a:lnTo>
                        <a:pt x="19883" y="13263"/>
                      </a:lnTo>
                      <a:lnTo>
                        <a:pt x="23023" y="15157"/>
                      </a:lnTo>
                      <a:lnTo>
                        <a:pt x="28604" y="18947"/>
                      </a:lnTo>
                      <a:lnTo>
                        <a:pt x="35581" y="20842"/>
                      </a:lnTo>
                      <a:lnTo>
                        <a:pt x="40116" y="22105"/>
                      </a:lnTo>
                      <a:lnTo>
                        <a:pt x="45348" y="23368"/>
                      </a:lnTo>
                      <a:lnTo>
                        <a:pt x="50232" y="30947"/>
                      </a:lnTo>
                      <a:lnTo>
                        <a:pt x="54418" y="34736"/>
                      </a:lnTo>
                      <a:lnTo>
                        <a:pt x="58604" y="36000"/>
                      </a:lnTo>
                      <a:lnTo>
                        <a:pt x="65581" y="36631"/>
                      </a:lnTo>
                      <a:lnTo>
                        <a:pt x="73255" y="34736"/>
                      </a:lnTo>
                      <a:lnTo>
                        <a:pt x="80930" y="30315"/>
                      </a:lnTo>
                      <a:lnTo>
                        <a:pt x="85116" y="23368"/>
                      </a:lnTo>
                      <a:lnTo>
                        <a:pt x="89302" y="22736"/>
                      </a:lnTo>
                      <a:lnTo>
                        <a:pt x="93488" y="22105"/>
                      </a:lnTo>
                      <a:lnTo>
                        <a:pt x="97325" y="9473"/>
                      </a:lnTo>
                      <a:lnTo>
                        <a:pt x="101860" y="12631"/>
                      </a:lnTo>
                      <a:lnTo>
                        <a:pt x="101162" y="20210"/>
                      </a:lnTo>
                      <a:lnTo>
                        <a:pt x="103604" y="24000"/>
                      </a:lnTo>
                      <a:lnTo>
                        <a:pt x="110930" y="63157"/>
                      </a:lnTo>
                      <a:lnTo>
                        <a:pt x="120000" y="12000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01" name="Shape 701"/>
                <p:cNvSpPr/>
                <p:nvPr/>
              </p:nvSpPr>
              <p:spPr>
                <a:xfrm>
                  <a:off x="2860688" y="4561862"/>
                  <a:ext cx="906537" cy="102094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20363" y="27979"/>
                      </a:moveTo>
                      <a:lnTo>
                        <a:pt x="36363" y="27357"/>
                      </a:lnTo>
                      <a:lnTo>
                        <a:pt x="40727" y="7461"/>
                      </a:lnTo>
                      <a:lnTo>
                        <a:pt x="61818" y="1865"/>
                      </a:lnTo>
                      <a:lnTo>
                        <a:pt x="76363" y="0"/>
                      </a:lnTo>
                      <a:lnTo>
                        <a:pt x="93090" y="2487"/>
                      </a:lnTo>
                      <a:lnTo>
                        <a:pt x="93818" y="16165"/>
                      </a:lnTo>
                      <a:lnTo>
                        <a:pt x="90181" y="23626"/>
                      </a:lnTo>
                      <a:lnTo>
                        <a:pt x="98181" y="29222"/>
                      </a:lnTo>
                      <a:lnTo>
                        <a:pt x="104000" y="31709"/>
                      </a:lnTo>
                      <a:lnTo>
                        <a:pt x="106181" y="39170"/>
                      </a:lnTo>
                      <a:lnTo>
                        <a:pt x="106909" y="44766"/>
                      </a:lnTo>
                      <a:lnTo>
                        <a:pt x="112000" y="52227"/>
                      </a:lnTo>
                      <a:lnTo>
                        <a:pt x="114909" y="60932"/>
                      </a:lnTo>
                      <a:lnTo>
                        <a:pt x="120000" y="69015"/>
                      </a:lnTo>
                      <a:lnTo>
                        <a:pt x="112000" y="98238"/>
                      </a:lnTo>
                      <a:lnTo>
                        <a:pt x="88000" y="106321"/>
                      </a:lnTo>
                      <a:lnTo>
                        <a:pt x="60363" y="117512"/>
                      </a:lnTo>
                      <a:lnTo>
                        <a:pt x="31272" y="119378"/>
                      </a:lnTo>
                      <a:lnTo>
                        <a:pt x="21818" y="120000"/>
                      </a:lnTo>
                      <a:lnTo>
                        <a:pt x="18181" y="115647"/>
                      </a:lnTo>
                      <a:lnTo>
                        <a:pt x="8000" y="96373"/>
                      </a:lnTo>
                      <a:lnTo>
                        <a:pt x="26909" y="103212"/>
                      </a:lnTo>
                      <a:lnTo>
                        <a:pt x="41454" y="104455"/>
                      </a:lnTo>
                      <a:lnTo>
                        <a:pt x="47272" y="105699"/>
                      </a:lnTo>
                      <a:lnTo>
                        <a:pt x="58181" y="106943"/>
                      </a:lnTo>
                      <a:lnTo>
                        <a:pt x="66181" y="101968"/>
                      </a:lnTo>
                      <a:lnTo>
                        <a:pt x="76363" y="92020"/>
                      </a:lnTo>
                      <a:lnTo>
                        <a:pt x="79272" y="88290"/>
                      </a:lnTo>
                      <a:lnTo>
                        <a:pt x="64727" y="95129"/>
                      </a:lnTo>
                      <a:lnTo>
                        <a:pt x="61818" y="100725"/>
                      </a:lnTo>
                      <a:lnTo>
                        <a:pt x="52363" y="104455"/>
                      </a:lnTo>
                      <a:lnTo>
                        <a:pt x="45818" y="101347"/>
                      </a:lnTo>
                      <a:lnTo>
                        <a:pt x="34909" y="99481"/>
                      </a:lnTo>
                      <a:lnTo>
                        <a:pt x="23272" y="99481"/>
                      </a:lnTo>
                      <a:lnTo>
                        <a:pt x="11636" y="97616"/>
                      </a:lnTo>
                      <a:lnTo>
                        <a:pt x="2181" y="93886"/>
                      </a:lnTo>
                      <a:lnTo>
                        <a:pt x="0" y="88290"/>
                      </a:lnTo>
                      <a:lnTo>
                        <a:pt x="0" y="73989"/>
                      </a:lnTo>
                      <a:lnTo>
                        <a:pt x="5090" y="65906"/>
                      </a:lnTo>
                      <a:lnTo>
                        <a:pt x="5818" y="60310"/>
                      </a:lnTo>
                      <a:lnTo>
                        <a:pt x="14545" y="47253"/>
                      </a:lnTo>
                      <a:lnTo>
                        <a:pt x="18181" y="39170"/>
                      </a:lnTo>
                      <a:lnTo>
                        <a:pt x="13818" y="34196"/>
                      </a:lnTo>
                      <a:lnTo>
                        <a:pt x="20363" y="27979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02" name="Shape 702"/>
                <p:cNvSpPr/>
                <p:nvPr/>
              </p:nvSpPr>
              <p:spPr>
                <a:xfrm>
                  <a:off x="2062659" y="4778750"/>
                  <a:ext cx="957354" cy="87283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17934" y="2545"/>
                      </a:moveTo>
                      <a:lnTo>
                        <a:pt x="32539" y="0"/>
                      </a:lnTo>
                      <a:lnTo>
                        <a:pt x="26513" y="909"/>
                      </a:lnTo>
                      <a:lnTo>
                        <a:pt x="16011" y="4363"/>
                      </a:lnTo>
                      <a:lnTo>
                        <a:pt x="12912" y="7454"/>
                      </a:lnTo>
                      <a:lnTo>
                        <a:pt x="11879" y="17818"/>
                      </a:lnTo>
                      <a:lnTo>
                        <a:pt x="11535" y="32000"/>
                      </a:lnTo>
                      <a:lnTo>
                        <a:pt x="7230" y="40363"/>
                      </a:lnTo>
                      <a:lnTo>
                        <a:pt x="3615" y="56000"/>
                      </a:lnTo>
                      <a:lnTo>
                        <a:pt x="2582" y="58181"/>
                      </a:lnTo>
                      <a:lnTo>
                        <a:pt x="6370" y="60363"/>
                      </a:lnTo>
                      <a:lnTo>
                        <a:pt x="4820" y="66545"/>
                      </a:lnTo>
                      <a:lnTo>
                        <a:pt x="6886" y="68000"/>
                      </a:lnTo>
                      <a:lnTo>
                        <a:pt x="11879" y="64181"/>
                      </a:lnTo>
                      <a:lnTo>
                        <a:pt x="22898" y="72363"/>
                      </a:lnTo>
                      <a:lnTo>
                        <a:pt x="22898" y="75272"/>
                      </a:lnTo>
                      <a:lnTo>
                        <a:pt x="28063" y="71272"/>
                      </a:lnTo>
                      <a:lnTo>
                        <a:pt x="29440" y="78545"/>
                      </a:lnTo>
                      <a:lnTo>
                        <a:pt x="34777" y="80000"/>
                      </a:lnTo>
                      <a:lnTo>
                        <a:pt x="39426" y="75090"/>
                      </a:lnTo>
                      <a:lnTo>
                        <a:pt x="42869" y="76727"/>
                      </a:lnTo>
                      <a:lnTo>
                        <a:pt x="47173" y="84000"/>
                      </a:lnTo>
                      <a:lnTo>
                        <a:pt x="53371" y="87090"/>
                      </a:lnTo>
                      <a:lnTo>
                        <a:pt x="57331" y="81636"/>
                      </a:lnTo>
                      <a:lnTo>
                        <a:pt x="63012" y="80727"/>
                      </a:lnTo>
                      <a:lnTo>
                        <a:pt x="69210" y="83454"/>
                      </a:lnTo>
                      <a:lnTo>
                        <a:pt x="75408" y="84363"/>
                      </a:lnTo>
                      <a:lnTo>
                        <a:pt x="79540" y="86000"/>
                      </a:lnTo>
                      <a:lnTo>
                        <a:pt x="87804" y="86000"/>
                      </a:lnTo>
                      <a:lnTo>
                        <a:pt x="91592" y="83818"/>
                      </a:lnTo>
                      <a:lnTo>
                        <a:pt x="93658" y="83272"/>
                      </a:lnTo>
                      <a:lnTo>
                        <a:pt x="99856" y="81090"/>
                      </a:lnTo>
                      <a:lnTo>
                        <a:pt x="102266" y="84000"/>
                      </a:lnTo>
                      <a:lnTo>
                        <a:pt x="98651" y="86000"/>
                      </a:lnTo>
                      <a:lnTo>
                        <a:pt x="87460" y="89272"/>
                      </a:lnTo>
                      <a:lnTo>
                        <a:pt x="76614" y="89272"/>
                      </a:lnTo>
                      <a:lnTo>
                        <a:pt x="67661" y="89818"/>
                      </a:lnTo>
                      <a:lnTo>
                        <a:pt x="62668" y="89818"/>
                      </a:lnTo>
                      <a:lnTo>
                        <a:pt x="59569" y="87272"/>
                      </a:lnTo>
                      <a:lnTo>
                        <a:pt x="54232" y="89818"/>
                      </a:lnTo>
                      <a:lnTo>
                        <a:pt x="47517" y="89454"/>
                      </a:lnTo>
                      <a:lnTo>
                        <a:pt x="43041" y="87818"/>
                      </a:lnTo>
                      <a:lnTo>
                        <a:pt x="37187" y="87272"/>
                      </a:lnTo>
                      <a:lnTo>
                        <a:pt x="34088" y="88909"/>
                      </a:lnTo>
                      <a:lnTo>
                        <a:pt x="30989" y="88181"/>
                      </a:lnTo>
                      <a:lnTo>
                        <a:pt x="27030" y="84000"/>
                      </a:lnTo>
                      <a:lnTo>
                        <a:pt x="24275" y="80545"/>
                      </a:lnTo>
                      <a:lnTo>
                        <a:pt x="22209" y="82363"/>
                      </a:lnTo>
                      <a:lnTo>
                        <a:pt x="21865" y="87636"/>
                      </a:lnTo>
                      <a:lnTo>
                        <a:pt x="19626" y="90000"/>
                      </a:lnTo>
                      <a:lnTo>
                        <a:pt x="17044" y="90000"/>
                      </a:lnTo>
                      <a:lnTo>
                        <a:pt x="15667" y="92727"/>
                      </a:lnTo>
                      <a:lnTo>
                        <a:pt x="20143" y="98545"/>
                      </a:lnTo>
                      <a:lnTo>
                        <a:pt x="17216" y="100363"/>
                      </a:lnTo>
                      <a:lnTo>
                        <a:pt x="11879" y="98000"/>
                      </a:lnTo>
                      <a:lnTo>
                        <a:pt x="7403" y="95272"/>
                      </a:lnTo>
                      <a:lnTo>
                        <a:pt x="6197" y="90545"/>
                      </a:lnTo>
                      <a:lnTo>
                        <a:pt x="2065" y="94181"/>
                      </a:lnTo>
                      <a:lnTo>
                        <a:pt x="688" y="101272"/>
                      </a:lnTo>
                      <a:lnTo>
                        <a:pt x="688" y="106181"/>
                      </a:lnTo>
                      <a:lnTo>
                        <a:pt x="0" y="110000"/>
                      </a:lnTo>
                      <a:lnTo>
                        <a:pt x="2754" y="111090"/>
                      </a:lnTo>
                      <a:lnTo>
                        <a:pt x="6714" y="115636"/>
                      </a:lnTo>
                      <a:lnTo>
                        <a:pt x="12912" y="120000"/>
                      </a:lnTo>
                      <a:lnTo>
                        <a:pt x="24275" y="118909"/>
                      </a:lnTo>
                      <a:lnTo>
                        <a:pt x="36671" y="118727"/>
                      </a:lnTo>
                      <a:lnTo>
                        <a:pt x="46484" y="118181"/>
                      </a:lnTo>
                      <a:lnTo>
                        <a:pt x="58364" y="114545"/>
                      </a:lnTo>
                      <a:lnTo>
                        <a:pt x="72998" y="110181"/>
                      </a:lnTo>
                      <a:lnTo>
                        <a:pt x="82123" y="107272"/>
                      </a:lnTo>
                      <a:lnTo>
                        <a:pt x="90387" y="105818"/>
                      </a:lnTo>
                      <a:lnTo>
                        <a:pt x="99856" y="105636"/>
                      </a:lnTo>
                      <a:lnTo>
                        <a:pt x="113285" y="110000"/>
                      </a:lnTo>
                      <a:lnTo>
                        <a:pt x="118967" y="110000"/>
                      </a:lnTo>
                      <a:lnTo>
                        <a:pt x="115695" y="100363"/>
                      </a:lnTo>
                      <a:lnTo>
                        <a:pt x="109670" y="84545"/>
                      </a:lnTo>
                      <a:lnTo>
                        <a:pt x="101922" y="80000"/>
                      </a:lnTo>
                      <a:lnTo>
                        <a:pt x="100373" y="70363"/>
                      </a:lnTo>
                      <a:lnTo>
                        <a:pt x="100373" y="59818"/>
                      </a:lnTo>
                      <a:lnTo>
                        <a:pt x="100373" y="54909"/>
                      </a:lnTo>
                      <a:lnTo>
                        <a:pt x="105538" y="46909"/>
                      </a:lnTo>
                      <a:lnTo>
                        <a:pt x="105365" y="40909"/>
                      </a:lnTo>
                      <a:lnTo>
                        <a:pt x="111563" y="27636"/>
                      </a:lnTo>
                      <a:lnTo>
                        <a:pt x="116728" y="16909"/>
                      </a:lnTo>
                      <a:lnTo>
                        <a:pt x="113802" y="9636"/>
                      </a:lnTo>
                      <a:lnTo>
                        <a:pt x="120000" y="2545"/>
                      </a:lnTo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36000" tIns="45700" rIns="36000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03" name="Shape 703"/>
                <p:cNvSpPr/>
                <p:nvPr/>
              </p:nvSpPr>
              <p:spPr>
                <a:xfrm>
                  <a:off x="3224790" y="3096896"/>
                  <a:ext cx="1280137" cy="11532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46094" y="7155"/>
                      </a:moveTo>
                      <a:lnTo>
                        <a:pt x="42746" y="19816"/>
                      </a:lnTo>
                      <a:lnTo>
                        <a:pt x="37339" y="21743"/>
                      </a:lnTo>
                      <a:lnTo>
                        <a:pt x="29613" y="21743"/>
                      </a:lnTo>
                      <a:lnTo>
                        <a:pt x="25236" y="22018"/>
                      </a:lnTo>
                      <a:lnTo>
                        <a:pt x="20600" y="26146"/>
                      </a:lnTo>
                      <a:lnTo>
                        <a:pt x="14420" y="32477"/>
                      </a:lnTo>
                      <a:lnTo>
                        <a:pt x="10300" y="37981"/>
                      </a:lnTo>
                      <a:lnTo>
                        <a:pt x="7982" y="39908"/>
                      </a:lnTo>
                      <a:lnTo>
                        <a:pt x="6952" y="47339"/>
                      </a:lnTo>
                      <a:lnTo>
                        <a:pt x="6952" y="54495"/>
                      </a:lnTo>
                      <a:lnTo>
                        <a:pt x="3862" y="63853"/>
                      </a:lnTo>
                      <a:lnTo>
                        <a:pt x="515" y="70733"/>
                      </a:lnTo>
                      <a:lnTo>
                        <a:pt x="0" y="74311"/>
                      </a:lnTo>
                      <a:lnTo>
                        <a:pt x="3347" y="74587"/>
                      </a:lnTo>
                      <a:lnTo>
                        <a:pt x="4892" y="78165"/>
                      </a:lnTo>
                      <a:lnTo>
                        <a:pt x="11330" y="79816"/>
                      </a:lnTo>
                      <a:lnTo>
                        <a:pt x="11587" y="87522"/>
                      </a:lnTo>
                      <a:lnTo>
                        <a:pt x="19313" y="92201"/>
                      </a:lnTo>
                      <a:lnTo>
                        <a:pt x="21888" y="96055"/>
                      </a:lnTo>
                      <a:lnTo>
                        <a:pt x="21373" y="100733"/>
                      </a:lnTo>
                      <a:lnTo>
                        <a:pt x="19055" y="102935"/>
                      </a:lnTo>
                      <a:lnTo>
                        <a:pt x="22403" y="108440"/>
                      </a:lnTo>
                      <a:lnTo>
                        <a:pt x="26781" y="112293"/>
                      </a:lnTo>
                      <a:lnTo>
                        <a:pt x="29871" y="109541"/>
                      </a:lnTo>
                      <a:lnTo>
                        <a:pt x="31673" y="106238"/>
                      </a:lnTo>
                      <a:lnTo>
                        <a:pt x="36051" y="107339"/>
                      </a:lnTo>
                      <a:lnTo>
                        <a:pt x="40171" y="109266"/>
                      </a:lnTo>
                      <a:lnTo>
                        <a:pt x="44549" y="108990"/>
                      </a:lnTo>
                      <a:lnTo>
                        <a:pt x="49442" y="111467"/>
                      </a:lnTo>
                      <a:lnTo>
                        <a:pt x="50214" y="115871"/>
                      </a:lnTo>
                      <a:lnTo>
                        <a:pt x="50987" y="118073"/>
                      </a:lnTo>
                      <a:lnTo>
                        <a:pt x="55879" y="116422"/>
                      </a:lnTo>
                      <a:lnTo>
                        <a:pt x="60000" y="115321"/>
                      </a:lnTo>
                      <a:lnTo>
                        <a:pt x="62060" y="115596"/>
                      </a:lnTo>
                      <a:lnTo>
                        <a:pt x="67725" y="116697"/>
                      </a:lnTo>
                      <a:lnTo>
                        <a:pt x="75193" y="120000"/>
                      </a:lnTo>
                      <a:lnTo>
                        <a:pt x="75193" y="116697"/>
                      </a:lnTo>
                      <a:lnTo>
                        <a:pt x="79055" y="110917"/>
                      </a:lnTo>
                      <a:lnTo>
                        <a:pt x="90901" y="105137"/>
                      </a:lnTo>
                      <a:lnTo>
                        <a:pt x="100171" y="98532"/>
                      </a:lnTo>
                      <a:lnTo>
                        <a:pt x="107124" y="86422"/>
                      </a:lnTo>
                      <a:lnTo>
                        <a:pt x="112274" y="75412"/>
                      </a:lnTo>
                      <a:lnTo>
                        <a:pt x="112274" y="70183"/>
                      </a:lnTo>
                      <a:lnTo>
                        <a:pt x="111244" y="62201"/>
                      </a:lnTo>
                      <a:lnTo>
                        <a:pt x="115879" y="48165"/>
                      </a:lnTo>
                      <a:lnTo>
                        <a:pt x="112274" y="45688"/>
                      </a:lnTo>
                      <a:lnTo>
                        <a:pt x="111759" y="41559"/>
                      </a:lnTo>
                      <a:lnTo>
                        <a:pt x="113304" y="30825"/>
                      </a:lnTo>
                      <a:lnTo>
                        <a:pt x="112017" y="21467"/>
                      </a:lnTo>
                      <a:lnTo>
                        <a:pt x="120000" y="17889"/>
                      </a:lnTo>
                      <a:lnTo>
                        <a:pt x="117939" y="14587"/>
                      </a:lnTo>
                      <a:lnTo>
                        <a:pt x="113562" y="12385"/>
                      </a:lnTo>
                      <a:lnTo>
                        <a:pt x="101974" y="9908"/>
                      </a:lnTo>
                      <a:lnTo>
                        <a:pt x="91931" y="9357"/>
                      </a:lnTo>
                      <a:lnTo>
                        <a:pt x="88841" y="8807"/>
                      </a:lnTo>
                      <a:lnTo>
                        <a:pt x="84206" y="5504"/>
                      </a:lnTo>
                      <a:lnTo>
                        <a:pt x="79570" y="0"/>
                      </a:lnTo>
                      <a:lnTo>
                        <a:pt x="72618" y="1926"/>
                      </a:lnTo>
                      <a:lnTo>
                        <a:pt x="67467" y="8532"/>
                      </a:lnTo>
                      <a:lnTo>
                        <a:pt x="61802" y="12660"/>
                      </a:lnTo>
                      <a:lnTo>
                        <a:pt x="57939" y="12385"/>
                      </a:lnTo>
                      <a:lnTo>
                        <a:pt x="51502" y="9357"/>
                      </a:lnTo>
                      <a:lnTo>
                        <a:pt x="46094" y="7155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04" name="Shape 704"/>
                <p:cNvSpPr/>
                <p:nvPr/>
              </p:nvSpPr>
              <p:spPr>
                <a:xfrm>
                  <a:off x="2696514" y="3543282"/>
                  <a:ext cx="1082443" cy="84733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20000" y="96894"/>
                      </a:moveTo>
                      <a:lnTo>
                        <a:pt x="114822" y="96521"/>
                      </a:lnTo>
                      <a:lnTo>
                        <a:pt x="106294" y="94658"/>
                      </a:lnTo>
                      <a:lnTo>
                        <a:pt x="99289" y="93913"/>
                      </a:lnTo>
                      <a:lnTo>
                        <a:pt x="94720" y="94658"/>
                      </a:lnTo>
                      <a:lnTo>
                        <a:pt x="90152" y="101739"/>
                      </a:lnTo>
                      <a:lnTo>
                        <a:pt x="87411" y="104347"/>
                      </a:lnTo>
                      <a:lnTo>
                        <a:pt x="84060" y="112546"/>
                      </a:lnTo>
                      <a:lnTo>
                        <a:pt x="80710" y="120000"/>
                      </a:lnTo>
                      <a:lnTo>
                        <a:pt x="71878" y="120000"/>
                      </a:lnTo>
                      <a:lnTo>
                        <a:pt x="58172" y="119627"/>
                      </a:lnTo>
                      <a:lnTo>
                        <a:pt x="34416" y="118509"/>
                      </a:lnTo>
                      <a:lnTo>
                        <a:pt x="33502" y="115527"/>
                      </a:lnTo>
                      <a:lnTo>
                        <a:pt x="31675" y="112919"/>
                      </a:lnTo>
                      <a:lnTo>
                        <a:pt x="27715" y="108074"/>
                      </a:lnTo>
                      <a:lnTo>
                        <a:pt x="26497" y="105465"/>
                      </a:lnTo>
                      <a:lnTo>
                        <a:pt x="24060" y="102111"/>
                      </a:lnTo>
                      <a:lnTo>
                        <a:pt x="22233" y="97267"/>
                      </a:lnTo>
                      <a:lnTo>
                        <a:pt x="20710" y="93167"/>
                      </a:lnTo>
                      <a:lnTo>
                        <a:pt x="18274" y="89813"/>
                      </a:lnTo>
                      <a:lnTo>
                        <a:pt x="15837" y="86832"/>
                      </a:lnTo>
                      <a:lnTo>
                        <a:pt x="15837" y="81242"/>
                      </a:lnTo>
                      <a:lnTo>
                        <a:pt x="18578" y="77142"/>
                      </a:lnTo>
                      <a:lnTo>
                        <a:pt x="20101" y="71552"/>
                      </a:lnTo>
                      <a:lnTo>
                        <a:pt x="20406" y="66708"/>
                      </a:lnTo>
                      <a:lnTo>
                        <a:pt x="18578" y="59254"/>
                      </a:lnTo>
                      <a:lnTo>
                        <a:pt x="15532" y="52173"/>
                      </a:lnTo>
                      <a:lnTo>
                        <a:pt x="16751" y="42857"/>
                      </a:lnTo>
                      <a:lnTo>
                        <a:pt x="15532" y="38385"/>
                      </a:lnTo>
                      <a:lnTo>
                        <a:pt x="11573" y="35403"/>
                      </a:lnTo>
                      <a:lnTo>
                        <a:pt x="7918" y="30931"/>
                      </a:lnTo>
                      <a:lnTo>
                        <a:pt x="13401" y="28695"/>
                      </a:lnTo>
                      <a:lnTo>
                        <a:pt x="15228" y="28322"/>
                      </a:lnTo>
                      <a:lnTo>
                        <a:pt x="11573" y="24968"/>
                      </a:lnTo>
                      <a:lnTo>
                        <a:pt x="7918" y="24596"/>
                      </a:lnTo>
                      <a:lnTo>
                        <a:pt x="2131" y="27950"/>
                      </a:lnTo>
                      <a:lnTo>
                        <a:pt x="0" y="29068"/>
                      </a:lnTo>
                      <a:lnTo>
                        <a:pt x="3045" y="19751"/>
                      </a:lnTo>
                      <a:lnTo>
                        <a:pt x="5482" y="15652"/>
                      </a:lnTo>
                      <a:lnTo>
                        <a:pt x="8527" y="7080"/>
                      </a:lnTo>
                      <a:lnTo>
                        <a:pt x="15532" y="3354"/>
                      </a:lnTo>
                      <a:lnTo>
                        <a:pt x="27715" y="0"/>
                      </a:lnTo>
                      <a:lnTo>
                        <a:pt x="31675" y="1118"/>
                      </a:lnTo>
                      <a:lnTo>
                        <a:pt x="28629" y="8944"/>
                      </a:lnTo>
                      <a:lnTo>
                        <a:pt x="27411" y="17515"/>
                      </a:lnTo>
                      <a:lnTo>
                        <a:pt x="28629" y="24596"/>
                      </a:lnTo>
                      <a:lnTo>
                        <a:pt x="34111" y="32422"/>
                      </a:lnTo>
                      <a:lnTo>
                        <a:pt x="39289" y="39130"/>
                      </a:lnTo>
                      <a:lnTo>
                        <a:pt x="48426" y="41366"/>
                      </a:lnTo>
                      <a:lnTo>
                        <a:pt x="53908" y="38385"/>
                      </a:lnTo>
                      <a:lnTo>
                        <a:pt x="58172" y="36894"/>
                      </a:lnTo>
                      <a:lnTo>
                        <a:pt x="62741" y="37639"/>
                      </a:lnTo>
                      <a:lnTo>
                        <a:pt x="65177" y="41366"/>
                      </a:lnTo>
                      <a:lnTo>
                        <a:pt x="73705" y="44720"/>
                      </a:lnTo>
                      <a:lnTo>
                        <a:pt x="74010" y="55155"/>
                      </a:lnTo>
                      <a:lnTo>
                        <a:pt x="78274" y="58136"/>
                      </a:lnTo>
                      <a:lnTo>
                        <a:pt x="83756" y="62608"/>
                      </a:lnTo>
                      <a:lnTo>
                        <a:pt x="84974" y="69689"/>
                      </a:lnTo>
                      <a:lnTo>
                        <a:pt x="83451" y="74906"/>
                      </a:lnTo>
                      <a:lnTo>
                        <a:pt x="84060" y="79378"/>
                      </a:lnTo>
                      <a:lnTo>
                        <a:pt x="89847" y="87577"/>
                      </a:lnTo>
                      <a:lnTo>
                        <a:pt x="92588" y="89068"/>
                      </a:lnTo>
                      <a:lnTo>
                        <a:pt x="96852" y="81987"/>
                      </a:lnTo>
                      <a:lnTo>
                        <a:pt x="100507" y="80124"/>
                      </a:lnTo>
                      <a:lnTo>
                        <a:pt x="105685" y="84596"/>
                      </a:lnTo>
                      <a:lnTo>
                        <a:pt x="114213" y="84968"/>
                      </a:lnTo>
                      <a:lnTo>
                        <a:pt x="118172" y="88322"/>
                      </a:lnTo>
                      <a:lnTo>
                        <a:pt x="120000" y="96894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05" name="Shape 705"/>
                <p:cNvSpPr/>
                <p:nvPr/>
              </p:nvSpPr>
              <p:spPr>
                <a:xfrm>
                  <a:off x="2202132" y="2956375"/>
                  <a:ext cx="1530126" cy="142177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0" y="69450"/>
                      </a:moveTo>
                      <a:lnTo>
                        <a:pt x="5385" y="67472"/>
                      </a:lnTo>
                      <a:lnTo>
                        <a:pt x="6678" y="62857"/>
                      </a:lnTo>
                      <a:lnTo>
                        <a:pt x="5385" y="58681"/>
                      </a:lnTo>
                      <a:lnTo>
                        <a:pt x="5170" y="56703"/>
                      </a:lnTo>
                      <a:lnTo>
                        <a:pt x="6678" y="51648"/>
                      </a:lnTo>
                      <a:lnTo>
                        <a:pt x="7971" y="45494"/>
                      </a:lnTo>
                      <a:lnTo>
                        <a:pt x="9910" y="39120"/>
                      </a:lnTo>
                      <a:lnTo>
                        <a:pt x="14865" y="34945"/>
                      </a:lnTo>
                      <a:lnTo>
                        <a:pt x="19605" y="30549"/>
                      </a:lnTo>
                      <a:lnTo>
                        <a:pt x="21759" y="28351"/>
                      </a:lnTo>
                      <a:lnTo>
                        <a:pt x="27791" y="27472"/>
                      </a:lnTo>
                      <a:lnTo>
                        <a:pt x="37701" y="28571"/>
                      </a:lnTo>
                      <a:lnTo>
                        <a:pt x="47612" y="29890"/>
                      </a:lnTo>
                      <a:lnTo>
                        <a:pt x="56445" y="31648"/>
                      </a:lnTo>
                      <a:lnTo>
                        <a:pt x="66570" y="32307"/>
                      </a:lnTo>
                      <a:lnTo>
                        <a:pt x="73249" y="32307"/>
                      </a:lnTo>
                      <a:lnTo>
                        <a:pt x="82513" y="28791"/>
                      </a:lnTo>
                      <a:lnTo>
                        <a:pt x="88114" y="21538"/>
                      </a:lnTo>
                      <a:lnTo>
                        <a:pt x="90915" y="12087"/>
                      </a:lnTo>
                      <a:lnTo>
                        <a:pt x="94362" y="1978"/>
                      </a:lnTo>
                      <a:lnTo>
                        <a:pt x="98025" y="0"/>
                      </a:lnTo>
                      <a:lnTo>
                        <a:pt x="103195" y="0"/>
                      </a:lnTo>
                      <a:lnTo>
                        <a:pt x="106211" y="3076"/>
                      </a:lnTo>
                      <a:lnTo>
                        <a:pt x="112459" y="1758"/>
                      </a:lnTo>
                      <a:lnTo>
                        <a:pt x="113321" y="7032"/>
                      </a:lnTo>
                      <a:lnTo>
                        <a:pt x="113536" y="9890"/>
                      </a:lnTo>
                      <a:lnTo>
                        <a:pt x="116122" y="13186"/>
                      </a:lnTo>
                      <a:lnTo>
                        <a:pt x="120000" y="16703"/>
                      </a:lnTo>
                      <a:lnTo>
                        <a:pt x="117630" y="24175"/>
                      </a:lnTo>
                      <a:lnTo>
                        <a:pt x="116337" y="27692"/>
                      </a:lnTo>
                      <a:lnTo>
                        <a:pt x="115044" y="29010"/>
                      </a:lnTo>
                      <a:lnTo>
                        <a:pt x="111382" y="29010"/>
                      </a:lnTo>
                      <a:lnTo>
                        <a:pt x="107719" y="29670"/>
                      </a:lnTo>
                      <a:lnTo>
                        <a:pt x="103411" y="29670"/>
                      </a:lnTo>
                      <a:lnTo>
                        <a:pt x="101256" y="30549"/>
                      </a:lnTo>
                      <a:lnTo>
                        <a:pt x="95870" y="34945"/>
                      </a:lnTo>
                      <a:lnTo>
                        <a:pt x="87253" y="45494"/>
                      </a:lnTo>
                      <a:lnTo>
                        <a:pt x="86822" y="52527"/>
                      </a:lnTo>
                      <a:lnTo>
                        <a:pt x="86175" y="58901"/>
                      </a:lnTo>
                      <a:lnTo>
                        <a:pt x="81220" y="70109"/>
                      </a:lnTo>
                      <a:lnTo>
                        <a:pt x="80574" y="71648"/>
                      </a:lnTo>
                      <a:lnTo>
                        <a:pt x="75834" y="73186"/>
                      </a:lnTo>
                      <a:lnTo>
                        <a:pt x="71095" y="74505"/>
                      </a:lnTo>
                      <a:lnTo>
                        <a:pt x="68294" y="73626"/>
                      </a:lnTo>
                      <a:lnTo>
                        <a:pt x="66570" y="72307"/>
                      </a:lnTo>
                      <a:lnTo>
                        <a:pt x="63554" y="70329"/>
                      </a:lnTo>
                      <a:lnTo>
                        <a:pt x="60969" y="67032"/>
                      </a:lnTo>
                      <a:lnTo>
                        <a:pt x="59461" y="64395"/>
                      </a:lnTo>
                      <a:lnTo>
                        <a:pt x="58599" y="60219"/>
                      </a:lnTo>
                      <a:lnTo>
                        <a:pt x="58384" y="56263"/>
                      </a:lnTo>
                      <a:lnTo>
                        <a:pt x="60323" y="52747"/>
                      </a:lnTo>
                      <a:lnTo>
                        <a:pt x="61400" y="50109"/>
                      </a:lnTo>
                      <a:lnTo>
                        <a:pt x="59030" y="49670"/>
                      </a:lnTo>
                      <a:lnTo>
                        <a:pt x="53644" y="50989"/>
                      </a:lnTo>
                      <a:lnTo>
                        <a:pt x="48043" y="52967"/>
                      </a:lnTo>
                      <a:lnTo>
                        <a:pt x="45242" y="52967"/>
                      </a:lnTo>
                      <a:lnTo>
                        <a:pt x="43518" y="56923"/>
                      </a:lnTo>
                      <a:lnTo>
                        <a:pt x="41364" y="60439"/>
                      </a:lnTo>
                      <a:lnTo>
                        <a:pt x="39210" y="63516"/>
                      </a:lnTo>
                      <a:lnTo>
                        <a:pt x="38132" y="66813"/>
                      </a:lnTo>
                      <a:lnTo>
                        <a:pt x="41364" y="66153"/>
                      </a:lnTo>
                      <a:lnTo>
                        <a:pt x="43949" y="64835"/>
                      </a:lnTo>
                      <a:lnTo>
                        <a:pt x="46535" y="65054"/>
                      </a:lnTo>
                      <a:lnTo>
                        <a:pt x="49766" y="66593"/>
                      </a:lnTo>
                      <a:lnTo>
                        <a:pt x="46319" y="67472"/>
                      </a:lnTo>
                      <a:lnTo>
                        <a:pt x="45026" y="67692"/>
                      </a:lnTo>
                      <a:lnTo>
                        <a:pt x="46535" y="70109"/>
                      </a:lnTo>
                      <a:lnTo>
                        <a:pt x="49766" y="72307"/>
                      </a:lnTo>
                      <a:lnTo>
                        <a:pt x="50197" y="76923"/>
                      </a:lnTo>
                      <a:lnTo>
                        <a:pt x="50197" y="78461"/>
                      </a:lnTo>
                      <a:lnTo>
                        <a:pt x="50843" y="80659"/>
                      </a:lnTo>
                      <a:lnTo>
                        <a:pt x="51490" y="84835"/>
                      </a:lnTo>
                      <a:lnTo>
                        <a:pt x="52782" y="89670"/>
                      </a:lnTo>
                      <a:lnTo>
                        <a:pt x="51921" y="93846"/>
                      </a:lnTo>
                      <a:lnTo>
                        <a:pt x="49766" y="99340"/>
                      </a:lnTo>
                      <a:lnTo>
                        <a:pt x="50843" y="101978"/>
                      </a:lnTo>
                      <a:lnTo>
                        <a:pt x="52998" y="105934"/>
                      </a:lnTo>
                      <a:lnTo>
                        <a:pt x="55798" y="109450"/>
                      </a:lnTo>
                      <a:lnTo>
                        <a:pt x="59676" y="115604"/>
                      </a:lnTo>
                      <a:lnTo>
                        <a:pt x="63339" y="119999"/>
                      </a:lnTo>
                      <a:lnTo>
                        <a:pt x="55798" y="119999"/>
                      </a:lnTo>
                      <a:lnTo>
                        <a:pt x="45457" y="119340"/>
                      </a:lnTo>
                      <a:lnTo>
                        <a:pt x="27791" y="118901"/>
                      </a:lnTo>
                      <a:lnTo>
                        <a:pt x="16588" y="118241"/>
                      </a:lnTo>
                      <a:lnTo>
                        <a:pt x="15511" y="114725"/>
                      </a:lnTo>
                      <a:lnTo>
                        <a:pt x="14219" y="111208"/>
                      </a:lnTo>
                      <a:lnTo>
                        <a:pt x="11633" y="110769"/>
                      </a:lnTo>
                      <a:lnTo>
                        <a:pt x="9910" y="109230"/>
                      </a:lnTo>
                      <a:lnTo>
                        <a:pt x="9479" y="105494"/>
                      </a:lnTo>
                      <a:lnTo>
                        <a:pt x="10341" y="100219"/>
                      </a:lnTo>
                      <a:lnTo>
                        <a:pt x="12064" y="97142"/>
                      </a:lnTo>
                      <a:lnTo>
                        <a:pt x="15727" y="95824"/>
                      </a:lnTo>
                      <a:lnTo>
                        <a:pt x="20897" y="94285"/>
                      </a:lnTo>
                      <a:lnTo>
                        <a:pt x="21974" y="91648"/>
                      </a:lnTo>
                      <a:lnTo>
                        <a:pt x="24991" y="89890"/>
                      </a:lnTo>
                      <a:lnTo>
                        <a:pt x="23052" y="87692"/>
                      </a:lnTo>
                      <a:lnTo>
                        <a:pt x="24775" y="84615"/>
                      </a:lnTo>
                      <a:lnTo>
                        <a:pt x="24129" y="82637"/>
                      </a:lnTo>
                      <a:lnTo>
                        <a:pt x="21974" y="81538"/>
                      </a:lnTo>
                      <a:lnTo>
                        <a:pt x="19820" y="80659"/>
                      </a:lnTo>
                      <a:lnTo>
                        <a:pt x="18096" y="80659"/>
                      </a:lnTo>
                      <a:lnTo>
                        <a:pt x="17450" y="77362"/>
                      </a:lnTo>
                      <a:lnTo>
                        <a:pt x="19174" y="74505"/>
                      </a:lnTo>
                      <a:lnTo>
                        <a:pt x="22405" y="70769"/>
                      </a:lnTo>
                      <a:lnTo>
                        <a:pt x="22836" y="68351"/>
                      </a:lnTo>
                      <a:lnTo>
                        <a:pt x="26068" y="67692"/>
                      </a:lnTo>
                      <a:lnTo>
                        <a:pt x="32100" y="69230"/>
                      </a:lnTo>
                      <a:lnTo>
                        <a:pt x="35763" y="70769"/>
                      </a:lnTo>
                      <a:lnTo>
                        <a:pt x="38779" y="70989"/>
                      </a:lnTo>
                      <a:lnTo>
                        <a:pt x="42441" y="69230"/>
                      </a:lnTo>
                      <a:lnTo>
                        <a:pt x="37701" y="68351"/>
                      </a:lnTo>
                      <a:lnTo>
                        <a:pt x="34254" y="66813"/>
                      </a:lnTo>
                      <a:lnTo>
                        <a:pt x="30807" y="65934"/>
                      </a:lnTo>
                      <a:cubicBezTo>
                        <a:pt x="29299" y="65164"/>
                        <a:pt x="27791" y="64615"/>
                        <a:pt x="26068" y="64615"/>
                      </a:cubicBezTo>
                      <a:lnTo>
                        <a:pt x="20897" y="65934"/>
                      </a:lnTo>
                      <a:lnTo>
                        <a:pt x="18743" y="70109"/>
                      </a:lnTo>
                      <a:lnTo>
                        <a:pt x="16588" y="72527"/>
                      </a:lnTo>
                      <a:lnTo>
                        <a:pt x="14003" y="76043"/>
                      </a:lnTo>
                      <a:lnTo>
                        <a:pt x="13141" y="79120"/>
                      </a:lnTo>
                      <a:lnTo>
                        <a:pt x="11633" y="79340"/>
                      </a:lnTo>
                      <a:lnTo>
                        <a:pt x="10125" y="76923"/>
                      </a:lnTo>
                      <a:lnTo>
                        <a:pt x="6463" y="73406"/>
                      </a:lnTo>
                      <a:lnTo>
                        <a:pt x="1077" y="71208"/>
                      </a:lnTo>
                      <a:lnTo>
                        <a:pt x="0" y="6945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72000" tIns="45700" rIns="91425" bIns="45700" anchor="ctr" anchorCtr="0">
                  <a:noAutofit/>
                </a:bodyPr>
                <a:lstStyle/>
                <a:p>
                  <a:pPr marL="0" marR="0" lvl="0" indent="26670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06" name="Shape 706"/>
                <p:cNvSpPr/>
                <p:nvPr/>
              </p:nvSpPr>
              <p:spPr>
                <a:xfrm>
                  <a:off x="2383439" y="2884965"/>
                  <a:ext cx="1016418" cy="4575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108" y="110982"/>
                      </a:moveTo>
                      <a:lnTo>
                        <a:pt x="2270" y="103352"/>
                      </a:lnTo>
                      <a:lnTo>
                        <a:pt x="0" y="95028"/>
                      </a:lnTo>
                      <a:lnTo>
                        <a:pt x="3243" y="80462"/>
                      </a:lnTo>
                      <a:lnTo>
                        <a:pt x="5837" y="67283"/>
                      </a:lnTo>
                      <a:lnTo>
                        <a:pt x="6810" y="57572"/>
                      </a:lnTo>
                      <a:lnTo>
                        <a:pt x="4864" y="47861"/>
                      </a:lnTo>
                      <a:lnTo>
                        <a:pt x="2270" y="39537"/>
                      </a:lnTo>
                      <a:lnTo>
                        <a:pt x="1945" y="30520"/>
                      </a:lnTo>
                      <a:lnTo>
                        <a:pt x="7135" y="27745"/>
                      </a:lnTo>
                      <a:lnTo>
                        <a:pt x="14918" y="19421"/>
                      </a:lnTo>
                      <a:lnTo>
                        <a:pt x="21729" y="7630"/>
                      </a:lnTo>
                      <a:lnTo>
                        <a:pt x="32756" y="2774"/>
                      </a:lnTo>
                      <a:lnTo>
                        <a:pt x="43135" y="0"/>
                      </a:lnTo>
                      <a:lnTo>
                        <a:pt x="58054" y="7630"/>
                      </a:lnTo>
                      <a:lnTo>
                        <a:pt x="66810" y="12485"/>
                      </a:lnTo>
                      <a:lnTo>
                        <a:pt x="75891" y="11791"/>
                      </a:lnTo>
                      <a:lnTo>
                        <a:pt x="86918" y="16647"/>
                      </a:lnTo>
                      <a:lnTo>
                        <a:pt x="105081" y="19421"/>
                      </a:lnTo>
                      <a:lnTo>
                        <a:pt x="120000" y="26358"/>
                      </a:lnTo>
                      <a:lnTo>
                        <a:pt x="118054" y="41618"/>
                      </a:lnTo>
                      <a:lnTo>
                        <a:pt x="113189" y="69364"/>
                      </a:lnTo>
                      <a:lnTo>
                        <a:pt x="109945" y="90867"/>
                      </a:lnTo>
                      <a:lnTo>
                        <a:pt x="102810" y="106820"/>
                      </a:lnTo>
                      <a:lnTo>
                        <a:pt x="92756" y="117919"/>
                      </a:lnTo>
                      <a:lnTo>
                        <a:pt x="83351" y="120000"/>
                      </a:lnTo>
                      <a:lnTo>
                        <a:pt x="66486" y="118612"/>
                      </a:lnTo>
                      <a:lnTo>
                        <a:pt x="52864" y="113757"/>
                      </a:lnTo>
                      <a:lnTo>
                        <a:pt x="38594" y="109595"/>
                      </a:lnTo>
                      <a:lnTo>
                        <a:pt x="28216" y="106820"/>
                      </a:lnTo>
                      <a:lnTo>
                        <a:pt x="20756" y="105433"/>
                      </a:lnTo>
                      <a:lnTo>
                        <a:pt x="13945" y="106820"/>
                      </a:lnTo>
                      <a:lnTo>
                        <a:pt x="8108" y="110982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07" name="Shape 707"/>
                <p:cNvSpPr/>
                <p:nvPr/>
              </p:nvSpPr>
              <p:spPr>
                <a:xfrm>
                  <a:off x="1897206" y="2324240"/>
                  <a:ext cx="1126298" cy="147323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61463" y="0"/>
                      </a:moveTo>
                      <a:lnTo>
                        <a:pt x="53853" y="4739"/>
                      </a:lnTo>
                      <a:lnTo>
                        <a:pt x="47121" y="11202"/>
                      </a:lnTo>
                      <a:lnTo>
                        <a:pt x="42146" y="16373"/>
                      </a:lnTo>
                      <a:lnTo>
                        <a:pt x="38341" y="22621"/>
                      </a:lnTo>
                      <a:lnTo>
                        <a:pt x="36585" y="26929"/>
                      </a:lnTo>
                      <a:lnTo>
                        <a:pt x="33658" y="29084"/>
                      </a:lnTo>
                      <a:lnTo>
                        <a:pt x="28390" y="31454"/>
                      </a:lnTo>
                      <a:lnTo>
                        <a:pt x="26341" y="33393"/>
                      </a:lnTo>
                      <a:lnTo>
                        <a:pt x="21365" y="36193"/>
                      </a:lnTo>
                      <a:lnTo>
                        <a:pt x="18439" y="38563"/>
                      </a:lnTo>
                      <a:lnTo>
                        <a:pt x="17560" y="40718"/>
                      </a:lnTo>
                      <a:lnTo>
                        <a:pt x="11707" y="42657"/>
                      </a:lnTo>
                      <a:lnTo>
                        <a:pt x="4390" y="47181"/>
                      </a:lnTo>
                      <a:lnTo>
                        <a:pt x="0" y="51274"/>
                      </a:lnTo>
                      <a:lnTo>
                        <a:pt x="3219" y="54075"/>
                      </a:lnTo>
                      <a:lnTo>
                        <a:pt x="8487" y="58384"/>
                      </a:lnTo>
                      <a:lnTo>
                        <a:pt x="12000" y="63554"/>
                      </a:lnTo>
                      <a:lnTo>
                        <a:pt x="13170" y="70879"/>
                      </a:lnTo>
                      <a:lnTo>
                        <a:pt x="13170" y="77342"/>
                      </a:lnTo>
                      <a:lnTo>
                        <a:pt x="9658" y="83590"/>
                      </a:lnTo>
                      <a:lnTo>
                        <a:pt x="6146" y="87253"/>
                      </a:lnTo>
                      <a:lnTo>
                        <a:pt x="8780" y="89838"/>
                      </a:lnTo>
                      <a:lnTo>
                        <a:pt x="13463" y="91777"/>
                      </a:lnTo>
                      <a:lnTo>
                        <a:pt x="19317" y="93931"/>
                      </a:lnTo>
                      <a:lnTo>
                        <a:pt x="21951" y="98456"/>
                      </a:lnTo>
                      <a:lnTo>
                        <a:pt x="23707" y="108366"/>
                      </a:lnTo>
                      <a:lnTo>
                        <a:pt x="26634" y="111382"/>
                      </a:lnTo>
                      <a:lnTo>
                        <a:pt x="31024" y="120000"/>
                      </a:lnTo>
                      <a:lnTo>
                        <a:pt x="34829" y="118707"/>
                      </a:lnTo>
                      <a:lnTo>
                        <a:pt x="39512" y="117414"/>
                      </a:lnTo>
                      <a:lnTo>
                        <a:pt x="41268" y="113321"/>
                      </a:lnTo>
                      <a:lnTo>
                        <a:pt x="39512" y="107935"/>
                      </a:lnTo>
                      <a:lnTo>
                        <a:pt x="41560" y="100610"/>
                      </a:lnTo>
                      <a:lnTo>
                        <a:pt x="44487" y="92208"/>
                      </a:lnTo>
                      <a:lnTo>
                        <a:pt x="47414" y="88761"/>
                      </a:lnTo>
                      <a:lnTo>
                        <a:pt x="56195" y="83375"/>
                      </a:lnTo>
                      <a:lnTo>
                        <a:pt x="60000" y="80359"/>
                      </a:lnTo>
                      <a:lnTo>
                        <a:pt x="55902" y="77989"/>
                      </a:lnTo>
                      <a:lnTo>
                        <a:pt x="52390" y="76481"/>
                      </a:lnTo>
                      <a:lnTo>
                        <a:pt x="52097" y="74111"/>
                      </a:lnTo>
                      <a:lnTo>
                        <a:pt x="54146" y="71095"/>
                      </a:lnTo>
                      <a:lnTo>
                        <a:pt x="57365" y="67432"/>
                      </a:lnTo>
                      <a:lnTo>
                        <a:pt x="57658" y="63123"/>
                      </a:lnTo>
                      <a:lnTo>
                        <a:pt x="55024" y="58815"/>
                      </a:lnTo>
                      <a:lnTo>
                        <a:pt x="52975" y="54937"/>
                      </a:lnTo>
                      <a:lnTo>
                        <a:pt x="57365" y="54290"/>
                      </a:lnTo>
                      <a:lnTo>
                        <a:pt x="65268" y="51059"/>
                      </a:lnTo>
                      <a:lnTo>
                        <a:pt x="71121" y="47827"/>
                      </a:lnTo>
                      <a:lnTo>
                        <a:pt x="84292" y="46104"/>
                      </a:lnTo>
                      <a:lnTo>
                        <a:pt x="90731" y="45673"/>
                      </a:lnTo>
                      <a:lnTo>
                        <a:pt x="99219" y="47396"/>
                      </a:lnTo>
                      <a:lnTo>
                        <a:pt x="112097" y="49120"/>
                      </a:lnTo>
                      <a:lnTo>
                        <a:pt x="120000" y="49120"/>
                      </a:lnTo>
                      <a:lnTo>
                        <a:pt x="118829" y="43518"/>
                      </a:lnTo>
                      <a:lnTo>
                        <a:pt x="119414" y="31023"/>
                      </a:lnTo>
                      <a:lnTo>
                        <a:pt x="113268" y="27576"/>
                      </a:lnTo>
                      <a:lnTo>
                        <a:pt x="102439" y="22405"/>
                      </a:lnTo>
                      <a:lnTo>
                        <a:pt x="97170" y="13141"/>
                      </a:lnTo>
                      <a:lnTo>
                        <a:pt x="92780" y="15511"/>
                      </a:lnTo>
                      <a:lnTo>
                        <a:pt x="88390" y="18096"/>
                      </a:lnTo>
                      <a:lnTo>
                        <a:pt x="84292" y="20682"/>
                      </a:lnTo>
                      <a:lnTo>
                        <a:pt x="81658" y="22621"/>
                      </a:lnTo>
                      <a:lnTo>
                        <a:pt x="78731" y="24775"/>
                      </a:lnTo>
                      <a:lnTo>
                        <a:pt x="70536" y="30161"/>
                      </a:lnTo>
                      <a:lnTo>
                        <a:pt x="62634" y="27145"/>
                      </a:lnTo>
                      <a:lnTo>
                        <a:pt x="56487" y="24775"/>
                      </a:lnTo>
                      <a:lnTo>
                        <a:pt x="51804" y="21328"/>
                      </a:lnTo>
                      <a:lnTo>
                        <a:pt x="51804" y="18743"/>
                      </a:lnTo>
                      <a:lnTo>
                        <a:pt x="59414" y="11418"/>
                      </a:lnTo>
                      <a:lnTo>
                        <a:pt x="63219" y="5385"/>
                      </a:lnTo>
                      <a:lnTo>
                        <a:pt x="61463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144000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08" name="Shape 708"/>
                <p:cNvSpPr/>
                <p:nvPr/>
              </p:nvSpPr>
              <p:spPr>
                <a:xfrm>
                  <a:off x="1537340" y="2956376"/>
                  <a:ext cx="486235" cy="44435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6779" y="0"/>
                      </a:moveTo>
                      <a:lnTo>
                        <a:pt x="63728" y="10714"/>
                      </a:lnTo>
                      <a:lnTo>
                        <a:pt x="47457" y="22142"/>
                      </a:lnTo>
                      <a:lnTo>
                        <a:pt x="36610" y="33571"/>
                      </a:lnTo>
                      <a:lnTo>
                        <a:pt x="17627" y="36428"/>
                      </a:lnTo>
                      <a:lnTo>
                        <a:pt x="3389" y="38571"/>
                      </a:lnTo>
                      <a:lnTo>
                        <a:pt x="0" y="47142"/>
                      </a:lnTo>
                      <a:lnTo>
                        <a:pt x="23050" y="74285"/>
                      </a:lnTo>
                      <a:lnTo>
                        <a:pt x="30508" y="75000"/>
                      </a:lnTo>
                      <a:lnTo>
                        <a:pt x="40000" y="55714"/>
                      </a:lnTo>
                      <a:lnTo>
                        <a:pt x="42033" y="46428"/>
                      </a:lnTo>
                      <a:lnTo>
                        <a:pt x="65762" y="55714"/>
                      </a:lnTo>
                      <a:lnTo>
                        <a:pt x="77966" y="61428"/>
                      </a:lnTo>
                      <a:lnTo>
                        <a:pt x="84067" y="75000"/>
                      </a:lnTo>
                      <a:lnTo>
                        <a:pt x="87457" y="95714"/>
                      </a:lnTo>
                      <a:lnTo>
                        <a:pt x="98305" y="114285"/>
                      </a:lnTo>
                      <a:lnTo>
                        <a:pt x="103050" y="120000"/>
                      </a:lnTo>
                      <a:lnTo>
                        <a:pt x="111186" y="105000"/>
                      </a:lnTo>
                      <a:lnTo>
                        <a:pt x="119999" y="86428"/>
                      </a:lnTo>
                      <a:lnTo>
                        <a:pt x="119999" y="55714"/>
                      </a:lnTo>
                      <a:lnTo>
                        <a:pt x="113220" y="27857"/>
                      </a:lnTo>
                      <a:lnTo>
                        <a:pt x="96271" y="5714"/>
                      </a:lnTo>
                      <a:lnTo>
                        <a:pt x="86779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  <p:grpSp>
            <p:nvGrpSpPr>
              <p:cNvPr id="709" name="Shape 709"/>
              <p:cNvGrpSpPr/>
              <p:nvPr/>
            </p:nvGrpSpPr>
            <p:grpSpPr>
              <a:xfrm>
                <a:off x="1883228" y="1450247"/>
                <a:ext cx="252231" cy="252231"/>
                <a:chOff x="250825" y="3464287"/>
                <a:chExt cx="504462" cy="504462"/>
              </a:xfrm>
            </p:grpSpPr>
            <p:sp>
              <p:nvSpPr>
                <p:cNvPr id="710" name="Shape 710"/>
                <p:cNvSpPr/>
                <p:nvPr/>
              </p:nvSpPr>
              <p:spPr>
                <a:xfrm>
                  <a:off x="250825" y="3464287"/>
                  <a:ext cx="504462" cy="504462"/>
                </a:xfrm>
                <a:prstGeom prst="ellipse">
                  <a:avLst/>
                </a:prstGeom>
                <a:solidFill>
                  <a:srgbClr val="6AAC91"/>
                </a:solidFill>
                <a:ln>
                  <a:noFill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11" name="Shape 711"/>
                <p:cNvSpPr/>
                <p:nvPr/>
              </p:nvSpPr>
              <p:spPr>
                <a:xfrm>
                  <a:off x="376312" y="3589776"/>
                  <a:ext cx="253486" cy="253486"/>
                </a:xfrm>
                <a:prstGeom prst="ellipse">
                  <a:avLst/>
                </a:prstGeom>
                <a:solidFill>
                  <a:srgbClr val="6AAC91"/>
                </a:solidFill>
                <a:ln w="15875" cap="rnd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  <p:grpSp>
            <p:nvGrpSpPr>
              <p:cNvPr id="712" name="Shape 712"/>
              <p:cNvGrpSpPr/>
              <p:nvPr/>
            </p:nvGrpSpPr>
            <p:grpSpPr>
              <a:xfrm>
                <a:off x="6005446" y="4893467"/>
                <a:ext cx="252231" cy="252231"/>
                <a:chOff x="250825" y="3464287"/>
                <a:chExt cx="504462" cy="504462"/>
              </a:xfrm>
            </p:grpSpPr>
            <p:sp>
              <p:nvSpPr>
                <p:cNvPr id="713" name="Shape 713"/>
                <p:cNvSpPr/>
                <p:nvPr/>
              </p:nvSpPr>
              <p:spPr>
                <a:xfrm>
                  <a:off x="250825" y="3464287"/>
                  <a:ext cx="504462" cy="504462"/>
                </a:xfrm>
                <a:prstGeom prst="ellipse">
                  <a:avLst/>
                </a:prstGeom>
                <a:solidFill>
                  <a:srgbClr val="F0B270"/>
                </a:solidFill>
                <a:ln>
                  <a:noFill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14" name="Shape 714"/>
                <p:cNvSpPr/>
                <p:nvPr/>
              </p:nvSpPr>
              <p:spPr>
                <a:xfrm>
                  <a:off x="376312" y="3589776"/>
                  <a:ext cx="253486" cy="253486"/>
                </a:xfrm>
                <a:prstGeom prst="ellipse">
                  <a:avLst/>
                </a:prstGeom>
                <a:solidFill>
                  <a:srgbClr val="F0B270"/>
                </a:solidFill>
                <a:ln w="15875" cap="rnd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  <p:grpSp>
            <p:nvGrpSpPr>
              <p:cNvPr id="715" name="Shape 715"/>
              <p:cNvGrpSpPr/>
              <p:nvPr/>
            </p:nvGrpSpPr>
            <p:grpSpPr>
              <a:xfrm>
                <a:off x="4792160" y="1624636"/>
                <a:ext cx="252231" cy="252231"/>
                <a:chOff x="250825" y="3464287"/>
                <a:chExt cx="504462" cy="504462"/>
              </a:xfrm>
            </p:grpSpPr>
            <p:sp>
              <p:nvSpPr>
                <p:cNvPr id="716" name="Shape 716"/>
                <p:cNvSpPr/>
                <p:nvPr/>
              </p:nvSpPr>
              <p:spPr>
                <a:xfrm>
                  <a:off x="250825" y="3464287"/>
                  <a:ext cx="504462" cy="504462"/>
                </a:xfrm>
                <a:prstGeom prst="ellipse">
                  <a:avLst/>
                </a:prstGeom>
                <a:solidFill>
                  <a:srgbClr val="29A3FF"/>
                </a:solidFill>
                <a:ln>
                  <a:noFill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17" name="Shape 717"/>
                <p:cNvSpPr/>
                <p:nvPr/>
              </p:nvSpPr>
              <p:spPr>
                <a:xfrm>
                  <a:off x="376312" y="3589776"/>
                  <a:ext cx="253486" cy="253486"/>
                </a:xfrm>
                <a:prstGeom prst="ellipse">
                  <a:avLst/>
                </a:prstGeom>
                <a:solidFill>
                  <a:srgbClr val="29A3FF"/>
                </a:solidFill>
                <a:ln w="15875" cap="rnd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  <p:grpSp>
            <p:nvGrpSpPr>
              <p:cNvPr id="718" name="Shape 718"/>
              <p:cNvGrpSpPr/>
              <p:nvPr/>
            </p:nvGrpSpPr>
            <p:grpSpPr>
              <a:xfrm>
                <a:off x="4185219" y="3465180"/>
                <a:ext cx="252231" cy="252231"/>
                <a:chOff x="250825" y="3464287"/>
                <a:chExt cx="504462" cy="504462"/>
              </a:xfrm>
            </p:grpSpPr>
            <p:sp>
              <p:nvSpPr>
                <p:cNvPr id="719" name="Shape 719"/>
                <p:cNvSpPr/>
                <p:nvPr/>
              </p:nvSpPr>
              <p:spPr>
                <a:xfrm>
                  <a:off x="250825" y="3464287"/>
                  <a:ext cx="504462" cy="504462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20" name="Shape 720"/>
                <p:cNvSpPr/>
                <p:nvPr/>
              </p:nvSpPr>
              <p:spPr>
                <a:xfrm>
                  <a:off x="376312" y="3589776"/>
                  <a:ext cx="253486" cy="253486"/>
                </a:xfrm>
                <a:prstGeom prst="ellipse">
                  <a:avLst/>
                </a:prstGeom>
                <a:solidFill>
                  <a:srgbClr val="FFC000"/>
                </a:solidFill>
                <a:ln w="15875" cap="rnd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  <p:grpSp>
            <p:nvGrpSpPr>
              <p:cNvPr id="721" name="Shape 721"/>
              <p:cNvGrpSpPr/>
              <p:nvPr/>
            </p:nvGrpSpPr>
            <p:grpSpPr>
              <a:xfrm>
                <a:off x="1919331" y="4805149"/>
                <a:ext cx="252231" cy="252231"/>
                <a:chOff x="250825" y="3464287"/>
                <a:chExt cx="504462" cy="504462"/>
              </a:xfrm>
            </p:grpSpPr>
            <p:sp>
              <p:nvSpPr>
                <p:cNvPr id="722" name="Shape 722"/>
                <p:cNvSpPr/>
                <p:nvPr/>
              </p:nvSpPr>
              <p:spPr>
                <a:xfrm>
                  <a:off x="250825" y="3464287"/>
                  <a:ext cx="504462" cy="504462"/>
                </a:xfrm>
                <a:prstGeom prst="ellipse">
                  <a:avLst/>
                </a:prstGeom>
                <a:solidFill>
                  <a:srgbClr val="BF95DF"/>
                </a:solidFill>
                <a:ln>
                  <a:noFill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23" name="Shape 723"/>
                <p:cNvSpPr/>
                <p:nvPr/>
              </p:nvSpPr>
              <p:spPr>
                <a:xfrm>
                  <a:off x="376312" y="3589776"/>
                  <a:ext cx="253486" cy="253486"/>
                </a:xfrm>
                <a:prstGeom prst="ellipse">
                  <a:avLst/>
                </a:prstGeom>
                <a:solidFill>
                  <a:srgbClr val="BF95DF"/>
                </a:solidFill>
                <a:ln w="15875" cap="rnd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</p:grpSp>
        <p:sp>
          <p:nvSpPr>
            <p:cNvPr id="730" name="Shape 730"/>
            <p:cNvSpPr txBox="1"/>
            <p:nvPr/>
          </p:nvSpPr>
          <p:spPr>
            <a:xfrm>
              <a:off x="2134541" y="1113419"/>
              <a:ext cx="1216108" cy="338554"/>
            </a:xfrm>
            <a:prstGeom prst="rect">
              <a:avLst/>
            </a:prstGeom>
            <a:solidFill>
              <a:srgbClr val="6AAC9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1600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aint-Louis</a:t>
              </a:r>
            </a:p>
          </p:txBody>
        </p:sp>
        <p:sp>
          <p:nvSpPr>
            <p:cNvPr id="731" name="Shape 731"/>
            <p:cNvSpPr txBox="1"/>
            <p:nvPr/>
          </p:nvSpPr>
          <p:spPr>
            <a:xfrm>
              <a:off x="5371546" y="1347795"/>
              <a:ext cx="942046" cy="338554"/>
            </a:xfrm>
            <a:prstGeom prst="rect">
              <a:avLst/>
            </a:prstGeom>
            <a:solidFill>
              <a:srgbClr val="29A3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16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atam</a:t>
              </a:r>
            </a:p>
          </p:txBody>
        </p:sp>
        <p:sp>
          <p:nvSpPr>
            <p:cNvPr id="732" name="Shape 732"/>
            <p:cNvSpPr txBox="1"/>
            <p:nvPr/>
          </p:nvSpPr>
          <p:spPr>
            <a:xfrm>
              <a:off x="4768041" y="3511528"/>
              <a:ext cx="1666416" cy="338554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16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Tambacounda</a:t>
              </a:r>
            </a:p>
          </p:txBody>
        </p:sp>
        <p:sp>
          <p:nvSpPr>
            <p:cNvPr id="733" name="Shape 733"/>
            <p:cNvSpPr txBox="1"/>
            <p:nvPr/>
          </p:nvSpPr>
          <p:spPr>
            <a:xfrm>
              <a:off x="6244805" y="5077919"/>
              <a:ext cx="1253519" cy="338554"/>
            </a:xfrm>
            <a:prstGeom prst="rect">
              <a:avLst/>
            </a:prstGeom>
            <a:solidFill>
              <a:srgbClr val="F0B27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1600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Kédougou</a:t>
              </a:r>
            </a:p>
          </p:txBody>
        </p:sp>
        <p:sp>
          <p:nvSpPr>
            <p:cNvPr id="734" name="Shape 734"/>
            <p:cNvSpPr txBox="1"/>
            <p:nvPr/>
          </p:nvSpPr>
          <p:spPr>
            <a:xfrm>
              <a:off x="2280407" y="5117119"/>
              <a:ext cx="1231456" cy="338554"/>
            </a:xfrm>
            <a:prstGeom prst="rect">
              <a:avLst/>
            </a:prstGeom>
            <a:solidFill>
              <a:srgbClr val="BF95D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16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Ziguinchor</a:t>
              </a:r>
            </a:p>
          </p:txBody>
        </p:sp>
      </p:grpSp>
      <p:pic>
        <p:nvPicPr>
          <p:cNvPr id="44" name="Shape 806"/>
          <p:cNvPicPr preferRelativeResize="0"/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21881" y="-30392"/>
            <a:ext cx="1030643" cy="7607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5517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" name="Shape 759"/>
          <p:cNvSpPr/>
          <p:nvPr/>
        </p:nvSpPr>
        <p:spPr>
          <a:xfrm>
            <a:off x="4245786" y="828808"/>
            <a:ext cx="7751481" cy="5879796"/>
          </a:xfrm>
          <a:prstGeom prst="roundRect">
            <a:avLst>
              <a:gd name="adj" fmla="val 1831"/>
            </a:avLst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182875" rIns="91425" bIns="45700" anchor="t" anchorCtr="0">
            <a:noAutofit/>
          </a:bodyPr>
          <a:lstStyle/>
          <a:p>
            <a:pPr marL="342900" marR="0" lvl="1" indent="-342900" algn="l" rtl="0">
              <a:spcBef>
                <a:spcPts val="0"/>
              </a:spcBef>
              <a:buClr>
                <a:schemeClr val="accent1"/>
              </a:buClr>
              <a:buFont typeface="Noto Sans Symbols"/>
              <a:buNone/>
            </a:pPr>
            <a:endParaRPr sz="18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grpSp>
        <p:nvGrpSpPr>
          <p:cNvPr id="2" name="Groupe 1"/>
          <p:cNvGrpSpPr/>
          <p:nvPr/>
        </p:nvGrpSpPr>
        <p:grpSpPr>
          <a:xfrm>
            <a:off x="174116" y="1173957"/>
            <a:ext cx="3878320" cy="2969418"/>
            <a:chOff x="107117" y="1129469"/>
            <a:chExt cx="5169585" cy="3293305"/>
          </a:xfrm>
        </p:grpSpPr>
        <p:grpSp>
          <p:nvGrpSpPr>
            <p:cNvPr id="744" name="Shape 744"/>
            <p:cNvGrpSpPr/>
            <p:nvPr/>
          </p:nvGrpSpPr>
          <p:grpSpPr>
            <a:xfrm>
              <a:off x="107117" y="1129469"/>
              <a:ext cx="5169585" cy="3293305"/>
              <a:chOff x="1537340" y="1223262"/>
              <a:chExt cx="5973634" cy="4486512"/>
            </a:xfrm>
          </p:grpSpPr>
          <p:sp>
            <p:nvSpPr>
              <p:cNvPr id="745" name="Shape 745"/>
              <p:cNvSpPr/>
              <p:nvPr/>
            </p:nvSpPr>
            <p:spPr>
              <a:xfrm>
                <a:off x="2614939" y="1223262"/>
                <a:ext cx="2692139" cy="952181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714" y="102000"/>
                    </a:moveTo>
                    <a:lnTo>
                      <a:pt x="9795" y="103333"/>
                    </a:lnTo>
                    <a:lnTo>
                      <a:pt x="13959" y="102666"/>
                    </a:lnTo>
                    <a:lnTo>
                      <a:pt x="17632" y="89333"/>
                    </a:lnTo>
                    <a:lnTo>
                      <a:pt x="21551" y="81333"/>
                    </a:lnTo>
                    <a:lnTo>
                      <a:pt x="24979" y="68000"/>
                    </a:lnTo>
                    <a:lnTo>
                      <a:pt x="30122" y="62000"/>
                    </a:lnTo>
                    <a:lnTo>
                      <a:pt x="34775" y="61333"/>
                    </a:lnTo>
                    <a:lnTo>
                      <a:pt x="36734" y="58000"/>
                    </a:lnTo>
                    <a:lnTo>
                      <a:pt x="42122" y="78000"/>
                    </a:lnTo>
                    <a:lnTo>
                      <a:pt x="43591" y="80666"/>
                    </a:lnTo>
                    <a:lnTo>
                      <a:pt x="55836" y="76000"/>
                    </a:lnTo>
                    <a:lnTo>
                      <a:pt x="68326" y="76666"/>
                    </a:lnTo>
                    <a:lnTo>
                      <a:pt x="75183" y="80000"/>
                    </a:lnTo>
                    <a:lnTo>
                      <a:pt x="78612" y="87333"/>
                    </a:lnTo>
                    <a:lnTo>
                      <a:pt x="86448" y="84000"/>
                    </a:lnTo>
                    <a:lnTo>
                      <a:pt x="88897" y="92666"/>
                    </a:lnTo>
                    <a:lnTo>
                      <a:pt x="90612" y="120000"/>
                    </a:lnTo>
                    <a:lnTo>
                      <a:pt x="108979" y="81333"/>
                    </a:lnTo>
                    <a:lnTo>
                      <a:pt x="120000" y="61333"/>
                    </a:lnTo>
                    <a:lnTo>
                      <a:pt x="117795" y="50000"/>
                    </a:lnTo>
                    <a:lnTo>
                      <a:pt x="115102" y="52000"/>
                    </a:lnTo>
                    <a:lnTo>
                      <a:pt x="112163" y="48666"/>
                    </a:lnTo>
                    <a:lnTo>
                      <a:pt x="112408" y="41333"/>
                    </a:lnTo>
                    <a:lnTo>
                      <a:pt x="109959" y="34666"/>
                    </a:lnTo>
                    <a:lnTo>
                      <a:pt x="105061" y="24666"/>
                    </a:lnTo>
                    <a:lnTo>
                      <a:pt x="103591" y="22000"/>
                    </a:lnTo>
                    <a:lnTo>
                      <a:pt x="102122" y="16000"/>
                    </a:lnTo>
                    <a:lnTo>
                      <a:pt x="100653" y="20000"/>
                    </a:lnTo>
                    <a:lnTo>
                      <a:pt x="98938" y="13333"/>
                    </a:lnTo>
                    <a:lnTo>
                      <a:pt x="96489" y="12666"/>
                    </a:lnTo>
                    <a:lnTo>
                      <a:pt x="91836" y="8666"/>
                    </a:lnTo>
                    <a:lnTo>
                      <a:pt x="89142" y="10666"/>
                    </a:lnTo>
                    <a:lnTo>
                      <a:pt x="82285" y="8000"/>
                    </a:lnTo>
                    <a:lnTo>
                      <a:pt x="74448" y="4000"/>
                    </a:lnTo>
                    <a:lnTo>
                      <a:pt x="71510" y="1333"/>
                    </a:lnTo>
                    <a:lnTo>
                      <a:pt x="69306" y="0"/>
                    </a:lnTo>
                    <a:lnTo>
                      <a:pt x="68081" y="5333"/>
                    </a:lnTo>
                    <a:lnTo>
                      <a:pt x="63918" y="6000"/>
                    </a:lnTo>
                    <a:lnTo>
                      <a:pt x="63918" y="11333"/>
                    </a:lnTo>
                    <a:lnTo>
                      <a:pt x="61959" y="10000"/>
                    </a:lnTo>
                    <a:lnTo>
                      <a:pt x="58040" y="10000"/>
                    </a:lnTo>
                    <a:lnTo>
                      <a:pt x="55836" y="11333"/>
                    </a:lnTo>
                    <a:lnTo>
                      <a:pt x="51428" y="18000"/>
                    </a:lnTo>
                    <a:lnTo>
                      <a:pt x="48489" y="13333"/>
                    </a:lnTo>
                    <a:lnTo>
                      <a:pt x="46285" y="13333"/>
                    </a:lnTo>
                    <a:lnTo>
                      <a:pt x="42367" y="18000"/>
                    </a:lnTo>
                    <a:lnTo>
                      <a:pt x="39673" y="23333"/>
                    </a:lnTo>
                    <a:lnTo>
                      <a:pt x="35510" y="20000"/>
                    </a:lnTo>
                    <a:lnTo>
                      <a:pt x="32816" y="18000"/>
                    </a:lnTo>
                    <a:lnTo>
                      <a:pt x="30857" y="18000"/>
                    </a:lnTo>
                    <a:lnTo>
                      <a:pt x="28163" y="17333"/>
                    </a:lnTo>
                    <a:lnTo>
                      <a:pt x="25714" y="19333"/>
                    </a:lnTo>
                    <a:lnTo>
                      <a:pt x="24734" y="16000"/>
                    </a:lnTo>
                    <a:lnTo>
                      <a:pt x="24000" y="10000"/>
                    </a:lnTo>
                    <a:lnTo>
                      <a:pt x="20326" y="12000"/>
                    </a:lnTo>
                    <a:lnTo>
                      <a:pt x="18367" y="13333"/>
                    </a:lnTo>
                    <a:lnTo>
                      <a:pt x="15673" y="16000"/>
                    </a:lnTo>
                    <a:lnTo>
                      <a:pt x="15673" y="22000"/>
                    </a:lnTo>
                    <a:lnTo>
                      <a:pt x="12244" y="32666"/>
                    </a:lnTo>
                    <a:lnTo>
                      <a:pt x="10285" y="38666"/>
                    </a:lnTo>
                    <a:lnTo>
                      <a:pt x="7346" y="43333"/>
                    </a:lnTo>
                    <a:lnTo>
                      <a:pt x="7102" y="50000"/>
                    </a:lnTo>
                    <a:lnTo>
                      <a:pt x="7102" y="57333"/>
                    </a:lnTo>
                    <a:lnTo>
                      <a:pt x="6122" y="61333"/>
                    </a:lnTo>
                    <a:lnTo>
                      <a:pt x="3428" y="65333"/>
                    </a:lnTo>
                    <a:lnTo>
                      <a:pt x="1469" y="68666"/>
                    </a:lnTo>
                    <a:lnTo>
                      <a:pt x="0" y="74000"/>
                    </a:lnTo>
                    <a:lnTo>
                      <a:pt x="244" y="88666"/>
                    </a:lnTo>
                    <a:lnTo>
                      <a:pt x="1959" y="80000"/>
                    </a:lnTo>
                    <a:lnTo>
                      <a:pt x="3183" y="74666"/>
                    </a:lnTo>
                    <a:lnTo>
                      <a:pt x="3183" y="84666"/>
                    </a:lnTo>
                    <a:lnTo>
                      <a:pt x="1714" y="88000"/>
                    </a:lnTo>
                    <a:lnTo>
                      <a:pt x="2448" y="94000"/>
                    </a:lnTo>
                    <a:lnTo>
                      <a:pt x="1714" y="102000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46" name="Shape 746"/>
              <p:cNvSpPr/>
              <p:nvPr/>
            </p:nvSpPr>
            <p:spPr>
              <a:xfrm>
                <a:off x="2372450" y="1668290"/>
                <a:ext cx="2477862" cy="160812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5055" y="48947"/>
                    </a:moveTo>
                    <a:lnTo>
                      <a:pt x="8248" y="41052"/>
                    </a:lnTo>
                    <a:lnTo>
                      <a:pt x="9312" y="36315"/>
                    </a:lnTo>
                    <a:lnTo>
                      <a:pt x="13569" y="25657"/>
                    </a:lnTo>
                    <a:lnTo>
                      <a:pt x="27937" y="26447"/>
                    </a:lnTo>
                    <a:lnTo>
                      <a:pt x="30066" y="20526"/>
                    </a:lnTo>
                    <a:lnTo>
                      <a:pt x="35121" y="14605"/>
                    </a:lnTo>
                    <a:lnTo>
                      <a:pt x="39113" y="7500"/>
                    </a:lnTo>
                    <a:lnTo>
                      <a:pt x="42572" y="2763"/>
                    </a:lnTo>
                    <a:lnTo>
                      <a:pt x="48159" y="2368"/>
                    </a:lnTo>
                    <a:lnTo>
                      <a:pt x="51618" y="0"/>
                    </a:lnTo>
                    <a:lnTo>
                      <a:pt x="57738" y="11447"/>
                    </a:lnTo>
                    <a:lnTo>
                      <a:pt x="61197" y="12631"/>
                    </a:lnTo>
                    <a:lnTo>
                      <a:pt x="77427" y="9868"/>
                    </a:lnTo>
                    <a:lnTo>
                      <a:pt x="93126" y="11842"/>
                    </a:lnTo>
                    <a:lnTo>
                      <a:pt x="97383" y="17368"/>
                    </a:lnTo>
                    <a:lnTo>
                      <a:pt x="105365" y="15000"/>
                    </a:lnTo>
                    <a:lnTo>
                      <a:pt x="108292" y="18947"/>
                    </a:lnTo>
                    <a:lnTo>
                      <a:pt x="110155" y="35131"/>
                    </a:lnTo>
                    <a:lnTo>
                      <a:pt x="111219" y="48157"/>
                    </a:lnTo>
                    <a:lnTo>
                      <a:pt x="108558" y="53684"/>
                    </a:lnTo>
                    <a:lnTo>
                      <a:pt x="105898" y="56052"/>
                    </a:lnTo>
                    <a:lnTo>
                      <a:pt x="103769" y="65921"/>
                    </a:lnTo>
                    <a:lnTo>
                      <a:pt x="102172" y="78947"/>
                    </a:lnTo>
                    <a:lnTo>
                      <a:pt x="104301" y="83684"/>
                    </a:lnTo>
                    <a:lnTo>
                      <a:pt x="108026" y="84078"/>
                    </a:lnTo>
                    <a:lnTo>
                      <a:pt x="112815" y="88026"/>
                    </a:lnTo>
                    <a:lnTo>
                      <a:pt x="118137" y="93947"/>
                    </a:lnTo>
                    <a:lnTo>
                      <a:pt x="120000" y="99078"/>
                    </a:lnTo>
                    <a:lnTo>
                      <a:pt x="114944" y="105394"/>
                    </a:lnTo>
                    <a:lnTo>
                      <a:pt x="110953" y="112500"/>
                    </a:lnTo>
                    <a:lnTo>
                      <a:pt x="107228" y="118421"/>
                    </a:lnTo>
                    <a:lnTo>
                      <a:pt x="103769" y="120000"/>
                    </a:lnTo>
                    <a:lnTo>
                      <a:pt x="101906" y="117236"/>
                    </a:lnTo>
                    <a:lnTo>
                      <a:pt x="98181" y="115657"/>
                    </a:lnTo>
                    <a:lnTo>
                      <a:pt x="92328" y="114473"/>
                    </a:lnTo>
                    <a:lnTo>
                      <a:pt x="88070" y="114473"/>
                    </a:lnTo>
                    <a:lnTo>
                      <a:pt x="84345" y="109736"/>
                    </a:lnTo>
                    <a:lnTo>
                      <a:pt x="82483" y="106973"/>
                    </a:lnTo>
                    <a:lnTo>
                      <a:pt x="80620" y="108157"/>
                    </a:lnTo>
                    <a:lnTo>
                      <a:pt x="77427" y="112500"/>
                    </a:lnTo>
                    <a:lnTo>
                      <a:pt x="72904" y="117236"/>
                    </a:lnTo>
                    <a:lnTo>
                      <a:pt x="66518" y="112500"/>
                    </a:lnTo>
                    <a:lnTo>
                      <a:pt x="62261" y="106578"/>
                    </a:lnTo>
                    <a:lnTo>
                      <a:pt x="61729" y="101842"/>
                    </a:lnTo>
                    <a:lnTo>
                      <a:pt x="61463" y="98289"/>
                    </a:lnTo>
                    <a:lnTo>
                      <a:pt x="59068" y="98684"/>
                    </a:lnTo>
                    <a:lnTo>
                      <a:pt x="57472" y="99473"/>
                    </a:lnTo>
                    <a:lnTo>
                      <a:pt x="55343" y="96315"/>
                    </a:lnTo>
                    <a:lnTo>
                      <a:pt x="52150" y="96315"/>
                    </a:lnTo>
                    <a:lnTo>
                      <a:pt x="50022" y="98289"/>
                    </a:lnTo>
                    <a:lnTo>
                      <a:pt x="44700" y="96710"/>
                    </a:lnTo>
                    <a:lnTo>
                      <a:pt x="36984" y="95131"/>
                    </a:lnTo>
                    <a:lnTo>
                      <a:pt x="31396" y="94342"/>
                    </a:lnTo>
                    <a:lnTo>
                      <a:pt x="31130" y="88026"/>
                    </a:lnTo>
                    <a:lnTo>
                      <a:pt x="31396" y="77368"/>
                    </a:lnTo>
                    <a:lnTo>
                      <a:pt x="29534" y="75789"/>
                    </a:lnTo>
                    <a:lnTo>
                      <a:pt x="26341" y="72631"/>
                    </a:lnTo>
                    <a:lnTo>
                      <a:pt x="23680" y="69868"/>
                    </a:lnTo>
                    <a:lnTo>
                      <a:pt x="22084" y="64736"/>
                    </a:lnTo>
                    <a:lnTo>
                      <a:pt x="21019" y="60789"/>
                    </a:lnTo>
                    <a:lnTo>
                      <a:pt x="18093" y="65131"/>
                    </a:lnTo>
                    <a:lnTo>
                      <a:pt x="14634" y="68684"/>
                    </a:lnTo>
                    <a:lnTo>
                      <a:pt x="10643" y="75000"/>
                    </a:lnTo>
                    <a:lnTo>
                      <a:pt x="8514" y="76578"/>
                    </a:lnTo>
                    <a:lnTo>
                      <a:pt x="1862" y="70657"/>
                    </a:lnTo>
                    <a:lnTo>
                      <a:pt x="0" y="68289"/>
                    </a:lnTo>
                    <a:lnTo>
                      <a:pt x="5853" y="54473"/>
                    </a:lnTo>
                    <a:lnTo>
                      <a:pt x="5055" y="48947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4570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47" name="Shape 747"/>
              <p:cNvSpPr/>
              <p:nvPr/>
            </p:nvSpPr>
            <p:spPr>
              <a:xfrm>
                <a:off x="4467214" y="1662998"/>
                <a:ext cx="1889989" cy="1936103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465" y="30163"/>
                    </a:moveTo>
                    <a:lnTo>
                      <a:pt x="53023" y="1967"/>
                    </a:lnTo>
                    <a:lnTo>
                      <a:pt x="55813" y="1967"/>
                    </a:lnTo>
                    <a:lnTo>
                      <a:pt x="58953" y="0"/>
                    </a:lnTo>
                    <a:lnTo>
                      <a:pt x="63837" y="1639"/>
                    </a:lnTo>
                    <a:lnTo>
                      <a:pt x="68023" y="655"/>
                    </a:lnTo>
                    <a:lnTo>
                      <a:pt x="73255" y="3278"/>
                    </a:lnTo>
                    <a:lnTo>
                      <a:pt x="73604" y="6229"/>
                    </a:lnTo>
                    <a:lnTo>
                      <a:pt x="78837" y="7868"/>
                    </a:lnTo>
                    <a:lnTo>
                      <a:pt x="82674" y="12786"/>
                    </a:lnTo>
                    <a:lnTo>
                      <a:pt x="83023" y="18360"/>
                    </a:lnTo>
                    <a:lnTo>
                      <a:pt x="84767" y="22950"/>
                    </a:lnTo>
                    <a:lnTo>
                      <a:pt x="85465" y="27540"/>
                    </a:lnTo>
                    <a:lnTo>
                      <a:pt x="86860" y="31147"/>
                    </a:lnTo>
                    <a:lnTo>
                      <a:pt x="87906" y="36721"/>
                    </a:lnTo>
                    <a:lnTo>
                      <a:pt x="90697" y="39016"/>
                    </a:lnTo>
                    <a:lnTo>
                      <a:pt x="93488" y="40327"/>
                    </a:lnTo>
                    <a:lnTo>
                      <a:pt x="94186" y="43934"/>
                    </a:lnTo>
                    <a:lnTo>
                      <a:pt x="94186" y="46885"/>
                    </a:lnTo>
                    <a:lnTo>
                      <a:pt x="104302" y="45901"/>
                    </a:lnTo>
                    <a:lnTo>
                      <a:pt x="105697" y="52786"/>
                    </a:lnTo>
                    <a:lnTo>
                      <a:pt x="103953" y="56065"/>
                    </a:lnTo>
                    <a:lnTo>
                      <a:pt x="105000" y="59672"/>
                    </a:lnTo>
                    <a:lnTo>
                      <a:pt x="108488" y="62622"/>
                    </a:lnTo>
                    <a:lnTo>
                      <a:pt x="109883" y="65901"/>
                    </a:lnTo>
                    <a:lnTo>
                      <a:pt x="112674" y="69180"/>
                    </a:lnTo>
                    <a:lnTo>
                      <a:pt x="118604" y="72786"/>
                    </a:lnTo>
                    <a:lnTo>
                      <a:pt x="117209" y="75737"/>
                    </a:lnTo>
                    <a:lnTo>
                      <a:pt x="117558" y="83606"/>
                    </a:lnTo>
                    <a:lnTo>
                      <a:pt x="120000" y="88196"/>
                    </a:lnTo>
                    <a:lnTo>
                      <a:pt x="119651" y="91803"/>
                    </a:lnTo>
                    <a:lnTo>
                      <a:pt x="114069" y="99672"/>
                    </a:lnTo>
                    <a:lnTo>
                      <a:pt x="106395" y="105573"/>
                    </a:lnTo>
                    <a:lnTo>
                      <a:pt x="102906" y="105245"/>
                    </a:lnTo>
                    <a:lnTo>
                      <a:pt x="88604" y="103278"/>
                    </a:lnTo>
                    <a:lnTo>
                      <a:pt x="85465" y="104590"/>
                    </a:lnTo>
                    <a:lnTo>
                      <a:pt x="78488" y="115081"/>
                    </a:lnTo>
                    <a:lnTo>
                      <a:pt x="75697" y="116721"/>
                    </a:lnTo>
                    <a:lnTo>
                      <a:pt x="69418" y="120000"/>
                    </a:lnTo>
                    <a:lnTo>
                      <a:pt x="56162" y="117049"/>
                    </a:lnTo>
                    <a:lnTo>
                      <a:pt x="44302" y="111475"/>
                    </a:lnTo>
                    <a:lnTo>
                      <a:pt x="35930" y="105901"/>
                    </a:lnTo>
                    <a:lnTo>
                      <a:pt x="23372" y="97704"/>
                    </a:lnTo>
                    <a:lnTo>
                      <a:pt x="16744" y="92459"/>
                    </a:lnTo>
                    <a:lnTo>
                      <a:pt x="13953" y="91147"/>
                    </a:lnTo>
                    <a:lnTo>
                      <a:pt x="24069" y="82950"/>
                    </a:lnTo>
                    <a:lnTo>
                      <a:pt x="20581" y="78688"/>
                    </a:lnTo>
                    <a:lnTo>
                      <a:pt x="15000" y="73770"/>
                    </a:lnTo>
                    <a:lnTo>
                      <a:pt x="6976" y="70163"/>
                    </a:lnTo>
                    <a:lnTo>
                      <a:pt x="1395" y="68852"/>
                    </a:lnTo>
                    <a:lnTo>
                      <a:pt x="348" y="64918"/>
                    </a:lnTo>
                    <a:lnTo>
                      <a:pt x="0" y="60327"/>
                    </a:lnTo>
                    <a:lnTo>
                      <a:pt x="4186" y="46885"/>
                    </a:lnTo>
                    <a:lnTo>
                      <a:pt x="8720" y="44262"/>
                    </a:lnTo>
                    <a:lnTo>
                      <a:pt x="11162" y="40327"/>
                    </a:lnTo>
                    <a:lnTo>
                      <a:pt x="11511" y="35409"/>
                    </a:lnTo>
                    <a:lnTo>
                      <a:pt x="10465" y="30163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4570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48" name="Shape 748"/>
              <p:cNvSpPr/>
              <p:nvPr/>
            </p:nvSpPr>
            <p:spPr>
              <a:xfrm>
                <a:off x="4004362" y="2832490"/>
                <a:ext cx="3133010" cy="260220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8842" y="244"/>
                    </a:moveTo>
                    <a:lnTo>
                      <a:pt x="91157" y="0"/>
                    </a:lnTo>
                    <a:lnTo>
                      <a:pt x="96210" y="4163"/>
                    </a:lnTo>
                    <a:lnTo>
                      <a:pt x="98736" y="6857"/>
                    </a:lnTo>
                    <a:lnTo>
                      <a:pt x="100210" y="10285"/>
                    </a:lnTo>
                    <a:lnTo>
                      <a:pt x="103157" y="12734"/>
                    </a:lnTo>
                    <a:lnTo>
                      <a:pt x="105894" y="14938"/>
                    </a:lnTo>
                    <a:lnTo>
                      <a:pt x="108631" y="18612"/>
                    </a:lnTo>
                    <a:lnTo>
                      <a:pt x="109473" y="22775"/>
                    </a:lnTo>
                    <a:lnTo>
                      <a:pt x="107578" y="25959"/>
                    </a:lnTo>
                    <a:lnTo>
                      <a:pt x="106736" y="28897"/>
                    </a:lnTo>
                    <a:lnTo>
                      <a:pt x="108631" y="32081"/>
                    </a:lnTo>
                    <a:lnTo>
                      <a:pt x="110315" y="35265"/>
                    </a:lnTo>
                    <a:lnTo>
                      <a:pt x="112210" y="36000"/>
                    </a:lnTo>
                    <a:lnTo>
                      <a:pt x="113052" y="42857"/>
                    </a:lnTo>
                    <a:lnTo>
                      <a:pt x="113052" y="45061"/>
                    </a:lnTo>
                    <a:lnTo>
                      <a:pt x="110526" y="51673"/>
                    </a:lnTo>
                    <a:lnTo>
                      <a:pt x="110315" y="54612"/>
                    </a:lnTo>
                    <a:lnTo>
                      <a:pt x="111578" y="57795"/>
                    </a:lnTo>
                    <a:lnTo>
                      <a:pt x="113263" y="60000"/>
                    </a:lnTo>
                    <a:lnTo>
                      <a:pt x="113052" y="64408"/>
                    </a:lnTo>
                    <a:lnTo>
                      <a:pt x="109684" y="69306"/>
                    </a:lnTo>
                    <a:lnTo>
                      <a:pt x="108631" y="71510"/>
                    </a:lnTo>
                    <a:lnTo>
                      <a:pt x="110736" y="72734"/>
                    </a:lnTo>
                    <a:lnTo>
                      <a:pt x="113684" y="75673"/>
                    </a:lnTo>
                    <a:lnTo>
                      <a:pt x="113894" y="77877"/>
                    </a:lnTo>
                    <a:lnTo>
                      <a:pt x="119999" y="82775"/>
                    </a:lnTo>
                    <a:cubicBezTo>
                      <a:pt x="119315" y="83448"/>
                      <a:pt x="118631" y="84122"/>
                      <a:pt x="117894" y="84734"/>
                    </a:cubicBezTo>
                    <a:cubicBezTo>
                      <a:pt x="117526" y="85040"/>
                      <a:pt x="116631" y="85469"/>
                      <a:pt x="116631" y="85469"/>
                    </a:cubicBezTo>
                    <a:lnTo>
                      <a:pt x="114105" y="86204"/>
                    </a:lnTo>
                    <a:cubicBezTo>
                      <a:pt x="113421" y="86632"/>
                      <a:pt x="112631" y="86938"/>
                      <a:pt x="112000" y="87428"/>
                    </a:cubicBezTo>
                    <a:cubicBezTo>
                      <a:pt x="111789" y="87612"/>
                      <a:pt x="111578" y="88163"/>
                      <a:pt x="111578" y="88163"/>
                    </a:cubicBezTo>
                    <a:lnTo>
                      <a:pt x="108421" y="85714"/>
                    </a:lnTo>
                    <a:lnTo>
                      <a:pt x="103157" y="82285"/>
                    </a:lnTo>
                    <a:lnTo>
                      <a:pt x="101263" y="81795"/>
                    </a:lnTo>
                    <a:lnTo>
                      <a:pt x="101052" y="84489"/>
                    </a:lnTo>
                    <a:lnTo>
                      <a:pt x="101684" y="86938"/>
                    </a:lnTo>
                    <a:lnTo>
                      <a:pt x="98947" y="88653"/>
                    </a:lnTo>
                    <a:lnTo>
                      <a:pt x="97894" y="91836"/>
                    </a:lnTo>
                    <a:lnTo>
                      <a:pt x="96210" y="89387"/>
                    </a:lnTo>
                    <a:lnTo>
                      <a:pt x="93263" y="89632"/>
                    </a:lnTo>
                    <a:lnTo>
                      <a:pt x="91578" y="93306"/>
                    </a:lnTo>
                    <a:lnTo>
                      <a:pt x="89473" y="94530"/>
                    </a:lnTo>
                    <a:lnTo>
                      <a:pt x="86736" y="94040"/>
                    </a:lnTo>
                    <a:lnTo>
                      <a:pt x="83368" y="95265"/>
                    </a:lnTo>
                    <a:lnTo>
                      <a:pt x="82526" y="97959"/>
                    </a:lnTo>
                    <a:lnTo>
                      <a:pt x="81473" y="99183"/>
                    </a:lnTo>
                    <a:cubicBezTo>
                      <a:pt x="80000" y="100040"/>
                      <a:pt x="77842" y="100775"/>
                      <a:pt x="77052" y="102612"/>
                    </a:cubicBezTo>
                    <a:lnTo>
                      <a:pt x="73894" y="101387"/>
                    </a:lnTo>
                    <a:lnTo>
                      <a:pt x="72631" y="100163"/>
                    </a:lnTo>
                    <a:lnTo>
                      <a:pt x="70315" y="99428"/>
                    </a:lnTo>
                    <a:lnTo>
                      <a:pt x="68631" y="100163"/>
                    </a:lnTo>
                    <a:lnTo>
                      <a:pt x="66315" y="100653"/>
                    </a:lnTo>
                    <a:lnTo>
                      <a:pt x="64631" y="100653"/>
                    </a:lnTo>
                    <a:lnTo>
                      <a:pt x="62315" y="100163"/>
                    </a:lnTo>
                    <a:lnTo>
                      <a:pt x="60210" y="100897"/>
                    </a:lnTo>
                    <a:lnTo>
                      <a:pt x="61473" y="103591"/>
                    </a:lnTo>
                    <a:lnTo>
                      <a:pt x="62947" y="105306"/>
                    </a:lnTo>
                    <a:lnTo>
                      <a:pt x="62736" y="107020"/>
                    </a:lnTo>
                    <a:lnTo>
                      <a:pt x="62315" y="110204"/>
                    </a:lnTo>
                    <a:lnTo>
                      <a:pt x="64631" y="111183"/>
                    </a:lnTo>
                    <a:lnTo>
                      <a:pt x="64842" y="112653"/>
                    </a:lnTo>
                    <a:lnTo>
                      <a:pt x="65052" y="116816"/>
                    </a:lnTo>
                    <a:lnTo>
                      <a:pt x="62315" y="120000"/>
                    </a:lnTo>
                    <a:lnTo>
                      <a:pt x="54736" y="119265"/>
                    </a:lnTo>
                    <a:lnTo>
                      <a:pt x="50105" y="103346"/>
                    </a:lnTo>
                    <a:lnTo>
                      <a:pt x="45263" y="85469"/>
                    </a:lnTo>
                    <a:lnTo>
                      <a:pt x="44842" y="83755"/>
                    </a:lnTo>
                    <a:lnTo>
                      <a:pt x="43578" y="81551"/>
                    </a:lnTo>
                    <a:lnTo>
                      <a:pt x="42736" y="80081"/>
                    </a:lnTo>
                    <a:cubicBezTo>
                      <a:pt x="42736" y="79163"/>
                      <a:pt x="42736" y="78306"/>
                      <a:pt x="42736" y="77387"/>
                    </a:cubicBezTo>
                    <a:cubicBezTo>
                      <a:pt x="40421" y="76040"/>
                      <a:pt x="41421" y="76163"/>
                      <a:pt x="40000" y="76163"/>
                    </a:cubicBezTo>
                    <a:lnTo>
                      <a:pt x="39368" y="73959"/>
                    </a:lnTo>
                    <a:cubicBezTo>
                      <a:pt x="37315" y="75551"/>
                      <a:pt x="37473" y="74571"/>
                      <a:pt x="37473" y="76163"/>
                    </a:cubicBezTo>
                    <a:lnTo>
                      <a:pt x="34315" y="74938"/>
                    </a:lnTo>
                    <a:lnTo>
                      <a:pt x="32631" y="73469"/>
                    </a:lnTo>
                    <a:lnTo>
                      <a:pt x="30315" y="74204"/>
                    </a:lnTo>
                    <a:lnTo>
                      <a:pt x="25684" y="75428"/>
                    </a:lnTo>
                    <a:lnTo>
                      <a:pt x="20631" y="76408"/>
                    </a:lnTo>
                    <a:lnTo>
                      <a:pt x="16842" y="75918"/>
                    </a:lnTo>
                    <a:lnTo>
                      <a:pt x="14105" y="73714"/>
                    </a:lnTo>
                    <a:lnTo>
                      <a:pt x="12210" y="71755"/>
                    </a:lnTo>
                    <a:lnTo>
                      <a:pt x="10526" y="70775"/>
                    </a:lnTo>
                    <a:lnTo>
                      <a:pt x="6526" y="70775"/>
                    </a:lnTo>
                    <a:lnTo>
                      <a:pt x="3578" y="70285"/>
                    </a:lnTo>
                    <a:lnTo>
                      <a:pt x="842" y="67591"/>
                    </a:lnTo>
                    <a:lnTo>
                      <a:pt x="0" y="64897"/>
                    </a:lnTo>
                    <a:lnTo>
                      <a:pt x="1684" y="61959"/>
                    </a:lnTo>
                    <a:lnTo>
                      <a:pt x="5894" y="59510"/>
                    </a:lnTo>
                    <a:lnTo>
                      <a:pt x="9894" y="56571"/>
                    </a:lnTo>
                    <a:lnTo>
                      <a:pt x="13473" y="51183"/>
                    </a:lnTo>
                    <a:lnTo>
                      <a:pt x="15578" y="45061"/>
                    </a:lnTo>
                    <a:lnTo>
                      <a:pt x="15157" y="39673"/>
                    </a:lnTo>
                    <a:lnTo>
                      <a:pt x="16421" y="35510"/>
                    </a:lnTo>
                    <a:lnTo>
                      <a:pt x="17052" y="33795"/>
                    </a:lnTo>
                    <a:lnTo>
                      <a:pt x="15368" y="32816"/>
                    </a:lnTo>
                    <a:lnTo>
                      <a:pt x="15368" y="29877"/>
                    </a:lnTo>
                    <a:lnTo>
                      <a:pt x="15789" y="27428"/>
                    </a:lnTo>
                    <a:lnTo>
                      <a:pt x="15789" y="25224"/>
                    </a:lnTo>
                    <a:lnTo>
                      <a:pt x="15368" y="22040"/>
                    </a:lnTo>
                    <a:lnTo>
                      <a:pt x="18736" y="20326"/>
                    </a:lnTo>
                    <a:lnTo>
                      <a:pt x="21473" y="18367"/>
                    </a:lnTo>
                    <a:lnTo>
                      <a:pt x="26105" y="13224"/>
                    </a:lnTo>
                    <a:lnTo>
                      <a:pt x="30736" y="16897"/>
                    </a:lnTo>
                    <a:lnTo>
                      <a:pt x="38105" y="23755"/>
                    </a:lnTo>
                    <a:lnTo>
                      <a:pt x="48210" y="31346"/>
                    </a:lnTo>
                    <a:lnTo>
                      <a:pt x="53894" y="33306"/>
                    </a:lnTo>
                    <a:lnTo>
                      <a:pt x="59368" y="34775"/>
                    </a:lnTo>
                    <a:lnTo>
                      <a:pt x="64631" y="30857"/>
                    </a:lnTo>
                    <a:lnTo>
                      <a:pt x="67368" y="26204"/>
                    </a:lnTo>
                    <a:lnTo>
                      <a:pt x="69894" y="22775"/>
                    </a:lnTo>
                    <a:lnTo>
                      <a:pt x="72210" y="22530"/>
                    </a:lnTo>
                    <a:lnTo>
                      <a:pt x="77473" y="23510"/>
                    </a:lnTo>
                    <a:lnTo>
                      <a:pt x="82105" y="24000"/>
                    </a:lnTo>
                    <a:lnTo>
                      <a:pt x="84842" y="20816"/>
                    </a:lnTo>
                    <a:lnTo>
                      <a:pt x="88421" y="17142"/>
                    </a:lnTo>
                    <a:lnTo>
                      <a:pt x="90105" y="11755"/>
                    </a:lnTo>
                    <a:lnTo>
                      <a:pt x="88842" y="7346"/>
                    </a:lnTo>
                    <a:lnTo>
                      <a:pt x="88421" y="2693"/>
                    </a:lnTo>
                    <a:lnTo>
                      <a:pt x="88842" y="244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4570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49" name="Shape 749"/>
              <p:cNvSpPr/>
              <p:nvPr/>
            </p:nvSpPr>
            <p:spPr>
              <a:xfrm>
                <a:off x="5571539" y="4614762"/>
                <a:ext cx="1939435" cy="109501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3824" y="8115"/>
                    </a:moveTo>
                    <a:lnTo>
                      <a:pt x="95524" y="17391"/>
                    </a:lnTo>
                    <a:lnTo>
                      <a:pt x="102322" y="13913"/>
                    </a:lnTo>
                    <a:lnTo>
                      <a:pt x="102662" y="6376"/>
                    </a:lnTo>
                    <a:lnTo>
                      <a:pt x="105382" y="6956"/>
                    </a:lnTo>
                    <a:lnTo>
                      <a:pt x="108441" y="13913"/>
                    </a:lnTo>
                    <a:lnTo>
                      <a:pt x="110141" y="20289"/>
                    </a:lnTo>
                    <a:lnTo>
                      <a:pt x="111501" y="26086"/>
                    </a:lnTo>
                    <a:lnTo>
                      <a:pt x="111501" y="32463"/>
                    </a:lnTo>
                    <a:lnTo>
                      <a:pt x="116260" y="35942"/>
                    </a:lnTo>
                    <a:lnTo>
                      <a:pt x="117280" y="42898"/>
                    </a:lnTo>
                    <a:lnTo>
                      <a:pt x="115240" y="50434"/>
                    </a:lnTo>
                    <a:lnTo>
                      <a:pt x="118640" y="51014"/>
                    </a:lnTo>
                    <a:lnTo>
                      <a:pt x="120000" y="53913"/>
                    </a:lnTo>
                    <a:lnTo>
                      <a:pt x="117280" y="58550"/>
                    </a:lnTo>
                    <a:lnTo>
                      <a:pt x="117280" y="67826"/>
                    </a:lnTo>
                    <a:lnTo>
                      <a:pt x="118300" y="75942"/>
                    </a:lnTo>
                    <a:lnTo>
                      <a:pt x="117960" y="79420"/>
                    </a:lnTo>
                    <a:lnTo>
                      <a:pt x="115240" y="77681"/>
                    </a:lnTo>
                    <a:lnTo>
                      <a:pt x="114220" y="84637"/>
                    </a:lnTo>
                    <a:lnTo>
                      <a:pt x="114560" y="92753"/>
                    </a:lnTo>
                    <a:lnTo>
                      <a:pt x="114220" y="96811"/>
                    </a:lnTo>
                    <a:lnTo>
                      <a:pt x="111841" y="99130"/>
                    </a:lnTo>
                    <a:lnTo>
                      <a:pt x="114900" y="103768"/>
                    </a:lnTo>
                    <a:lnTo>
                      <a:pt x="117280" y="109565"/>
                    </a:lnTo>
                    <a:lnTo>
                      <a:pt x="113881" y="114202"/>
                    </a:lnTo>
                    <a:lnTo>
                      <a:pt x="110481" y="113043"/>
                    </a:lnTo>
                    <a:lnTo>
                      <a:pt x="96883" y="115362"/>
                    </a:lnTo>
                    <a:lnTo>
                      <a:pt x="84985" y="116521"/>
                    </a:lnTo>
                    <a:lnTo>
                      <a:pt x="75467" y="115362"/>
                    </a:lnTo>
                    <a:lnTo>
                      <a:pt x="71048" y="111304"/>
                    </a:lnTo>
                    <a:lnTo>
                      <a:pt x="62889" y="114202"/>
                    </a:lnTo>
                    <a:lnTo>
                      <a:pt x="57790" y="119420"/>
                    </a:lnTo>
                    <a:lnTo>
                      <a:pt x="48611" y="120000"/>
                    </a:lnTo>
                    <a:lnTo>
                      <a:pt x="37733" y="115942"/>
                    </a:lnTo>
                    <a:lnTo>
                      <a:pt x="29235" y="111304"/>
                    </a:lnTo>
                    <a:lnTo>
                      <a:pt x="22096" y="103768"/>
                    </a:lnTo>
                    <a:lnTo>
                      <a:pt x="18356" y="107826"/>
                    </a:lnTo>
                    <a:lnTo>
                      <a:pt x="13597" y="110144"/>
                    </a:lnTo>
                    <a:lnTo>
                      <a:pt x="9518" y="106666"/>
                    </a:lnTo>
                    <a:lnTo>
                      <a:pt x="8158" y="97391"/>
                    </a:lnTo>
                    <a:lnTo>
                      <a:pt x="6118" y="93333"/>
                    </a:lnTo>
                    <a:lnTo>
                      <a:pt x="2039" y="88115"/>
                    </a:lnTo>
                    <a:lnTo>
                      <a:pt x="7138" y="82898"/>
                    </a:lnTo>
                    <a:lnTo>
                      <a:pt x="7138" y="69565"/>
                    </a:lnTo>
                    <a:lnTo>
                      <a:pt x="4079" y="66086"/>
                    </a:lnTo>
                    <a:lnTo>
                      <a:pt x="4419" y="56231"/>
                    </a:lnTo>
                    <a:lnTo>
                      <a:pt x="0" y="43478"/>
                    </a:lnTo>
                    <a:lnTo>
                      <a:pt x="6118" y="44057"/>
                    </a:lnTo>
                    <a:lnTo>
                      <a:pt x="11218" y="43478"/>
                    </a:lnTo>
                    <a:lnTo>
                      <a:pt x="17337" y="40000"/>
                    </a:lnTo>
                    <a:lnTo>
                      <a:pt x="25495" y="47536"/>
                    </a:lnTo>
                    <a:lnTo>
                      <a:pt x="27875" y="49855"/>
                    </a:lnTo>
                    <a:lnTo>
                      <a:pt x="30254" y="42898"/>
                    </a:lnTo>
                    <a:lnTo>
                      <a:pt x="35354" y="39420"/>
                    </a:lnTo>
                    <a:lnTo>
                      <a:pt x="38413" y="29565"/>
                    </a:lnTo>
                    <a:lnTo>
                      <a:pt x="43172" y="29565"/>
                    </a:lnTo>
                    <a:lnTo>
                      <a:pt x="46912" y="28985"/>
                    </a:lnTo>
                    <a:lnTo>
                      <a:pt x="49631" y="26086"/>
                    </a:lnTo>
                    <a:lnTo>
                      <a:pt x="53371" y="17971"/>
                    </a:lnTo>
                    <a:lnTo>
                      <a:pt x="58130" y="17391"/>
                    </a:lnTo>
                    <a:lnTo>
                      <a:pt x="61189" y="20869"/>
                    </a:lnTo>
                    <a:lnTo>
                      <a:pt x="64249" y="12173"/>
                    </a:lnTo>
                    <a:lnTo>
                      <a:pt x="66628" y="11594"/>
                    </a:lnTo>
                    <a:lnTo>
                      <a:pt x="66288" y="0"/>
                    </a:lnTo>
                    <a:lnTo>
                      <a:pt x="68668" y="0"/>
                    </a:lnTo>
                    <a:lnTo>
                      <a:pt x="75467" y="6956"/>
                    </a:lnTo>
                    <a:lnTo>
                      <a:pt x="82606" y="14492"/>
                    </a:lnTo>
                    <a:lnTo>
                      <a:pt x="85325" y="9855"/>
                    </a:lnTo>
                    <a:lnTo>
                      <a:pt x="93824" y="8115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4570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50" name="Shape 750"/>
              <p:cNvSpPr/>
              <p:nvPr/>
            </p:nvSpPr>
            <p:spPr>
              <a:xfrm>
                <a:off x="3548201" y="4408458"/>
                <a:ext cx="1889989" cy="100508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120000"/>
                    </a:moveTo>
                    <a:lnTo>
                      <a:pt x="79883" y="118736"/>
                    </a:lnTo>
                    <a:lnTo>
                      <a:pt x="28255" y="116210"/>
                    </a:lnTo>
                    <a:lnTo>
                      <a:pt x="15348" y="114315"/>
                    </a:lnTo>
                    <a:lnTo>
                      <a:pt x="9069" y="114315"/>
                    </a:lnTo>
                    <a:lnTo>
                      <a:pt x="11511" y="104210"/>
                    </a:lnTo>
                    <a:lnTo>
                      <a:pt x="12558" y="94736"/>
                    </a:lnTo>
                    <a:lnTo>
                      <a:pt x="13604" y="90947"/>
                    </a:lnTo>
                    <a:lnTo>
                      <a:pt x="13604" y="85263"/>
                    </a:lnTo>
                    <a:lnTo>
                      <a:pt x="11162" y="80842"/>
                    </a:lnTo>
                    <a:lnTo>
                      <a:pt x="10813" y="76421"/>
                    </a:lnTo>
                    <a:lnTo>
                      <a:pt x="10465" y="72000"/>
                    </a:lnTo>
                    <a:lnTo>
                      <a:pt x="6976" y="66947"/>
                    </a:lnTo>
                    <a:lnTo>
                      <a:pt x="6976" y="60000"/>
                    </a:lnTo>
                    <a:lnTo>
                      <a:pt x="5930" y="55578"/>
                    </a:lnTo>
                    <a:lnTo>
                      <a:pt x="5232" y="49263"/>
                    </a:lnTo>
                    <a:lnTo>
                      <a:pt x="2790" y="47368"/>
                    </a:lnTo>
                    <a:lnTo>
                      <a:pt x="0" y="42315"/>
                    </a:lnTo>
                    <a:lnTo>
                      <a:pt x="0" y="37894"/>
                    </a:lnTo>
                    <a:lnTo>
                      <a:pt x="1046" y="34105"/>
                    </a:lnTo>
                    <a:lnTo>
                      <a:pt x="697" y="25894"/>
                    </a:lnTo>
                    <a:lnTo>
                      <a:pt x="697" y="20210"/>
                    </a:lnTo>
                    <a:lnTo>
                      <a:pt x="5232" y="18947"/>
                    </a:lnTo>
                    <a:lnTo>
                      <a:pt x="9767" y="14526"/>
                    </a:lnTo>
                    <a:lnTo>
                      <a:pt x="10813" y="6315"/>
                    </a:lnTo>
                    <a:lnTo>
                      <a:pt x="12558" y="1894"/>
                    </a:lnTo>
                    <a:lnTo>
                      <a:pt x="16744" y="0"/>
                    </a:lnTo>
                    <a:lnTo>
                      <a:pt x="18837" y="6315"/>
                    </a:lnTo>
                    <a:lnTo>
                      <a:pt x="19883" y="13263"/>
                    </a:lnTo>
                    <a:lnTo>
                      <a:pt x="23023" y="15157"/>
                    </a:lnTo>
                    <a:lnTo>
                      <a:pt x="28604" y="18947"/>
                    </a:lnTo>
                    <a:lnTo>
                      <a:pt x="35581" y="20842"/>
                    </a:lnTo>
                    <a:lnTo>
                      <a:pt x="40116" y="22105"/>
                    </a:lnTo>
                    <a:lnTo>
                      <a:pt x="45348" y="23368"/>
                    </a:lnTo>
                    <a:lnTo>
                      <a:pt x="50232" y="30947"/>
                    </a:lnTo>
                    <a:lnTo>
                      <a:pt x="54418" y="34736"/>
                    </a:lnTo>
                    <a:lnTo>
                      <a:pt x="58604" y="36000"/>
                    </a:lnTo>
                    <a:lnTo>
                      <a:pt x="65581" y="36631"/>
                    </a:lnTo>
                    <a:lnTo>
                      <a:pt x="73255" y="34736"/>
                    </a:lnTo>
                    <a:lnTo>
                      <a:pt x="80930" y="30315"/>
                    </a:lnTo>
                    <a:lnTo>
                      <a:pt x="85116" y="23368"/>
                    </a:lnTo>
                    <a:lnTo>
                      <a:pt x="89302" y="22736"/>
                    </a:lnTo>
                    <a:lnTo>
                      <a:pt x="93488" y="22105"/>
                    </a:lnTo>
                    <a:lnTo>
                      <a:pt x="97325" y="9473"/>
                    </a:lnTo>
                    <a:lnTo>
                      <a:pt x="101860" y="12631"/>
                    </a:lnTo>
                    <a:lnTo>
                      <a:pt x="101162" y="20210"/>
                    </a:lnTo>
                    <a:lnTo>
                      <a:pt x="103604" y="24000"/>
                    </a:lnTo>
                    <a:lnTo>
                      <a:pt x="110930" y="63157"/>
                    </a:lnTo>
                    <a:lnTo>
                      <a:pt x="120000" y="120000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4570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51" name="Shape 751"/>
              <p:cNvSpPr/>
              <p:nvPr/>
            </p:nvSpPr>
            <p:spPr>
              <a:xfrm>
                <a:off x="2860688" y="4561862"/>
                <a:ext cx="906537" cy="102094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20363" y="27979"/>
                    </a:moveTo>
                    <a:lnTo>
                      <a:pt x="36363" y="27357"/>
                    </a:lnTo>
                    <a:lnTo>
                      <a:pt x="40727" y="7461"/>
                    </a:lnTo>
                    <a:lnTo>
                      <a:pt x="61818" y="1865"/>
                    </a:lnTo>
                    <a:lnTo>
                      <a:pt x="76363" y="0"/>
                    </a:lnTo>
                    <a:lnTo>
                      <a:pt x="93090" y="2487"/>
                    </a:lnTo>
                    <a:lnTo>
                      <a:pt x="93818" y="16165"/>
                    </a:lnTo>
                    <a:lnTo>
                      <a:pt x="90181" y="23626"/>
                    </a:lnTo>
                    <a:lnTo>
                      <a:pt x="98181" y="29222"/>
                    </a:lnTo>
                    <a:lnTo>
                      <a:pt x="104000" y="31709"/>
                    </a:lnTo>
                    <a:lnTo>
                      <a:pt x="106181" y="39170"/>
                    </a:lnTo>
                    <a:lnTo>
                      <a:pt x="106909" y="44766"/>
                    </a:lnTo>
                    <a:lnTo>
                      <a:pt x="112000" y="52227"/>
                    </a:lnTo>
                    <a:lnTo>
                      <a:pt x="114909" y="60932"/>
                    </a:lnTo>
                    <a:lnTo>
                      <a:pt x="120000" y="69015"/>
                    </a:lnTo>
                    <a:lnTo>
                      <a:pt x="112000" y="98238"/>
                    </a:lnTo>
                    <a:lnTo>
                      <a:pt x="88000" y="106321"/>
                    </a:lnTo>
                    <a:lnTo>
                      <a:pt x="60363" y="117512"/>
                    </a:lnTo>
                    <a:lnTo>
                      <a:pt x="31272" y="119378"/>
                    </a:lnTo>
                    <a:lnTo>
                      <a:pt x="21818" y="120000"/>
                    </a:lnTo>
                    <a:lnTo>
                      <a:pt x="18181" y="115647"/>
                    </a:lnTo>
                    <a:lnTo>
                      <a:pt x="8000" y="96373"/>
                    </a:lnTo>
                    <a:lnTo>
                      <a:pt x="26909" y="103212"/>
                    </a:lnTo>
                    <a:lnTo>
                      <a:pt x="41454" y="104455"/>
                    </a:lnTo>
                    <a:lnTo>
                      <a:pt x="47272" y="105699"/>
                    </a:lnTo>
                    <a:lnTo>
                      <a:pt x="58181" y="106943"/>
                    </a:lnTo>
                    <a:lnTo>
                      <a:pt x="66181" y="101968"/>
                    </a:lnTo>
                    <a:lnTo>
                      <a:pt x="76363" y="92020"/>
                    </a:lnTo>
                    <a:lnTo>
                      <a:pt x="79272" y="88290"/>
                    </a:lnTo>
                    <a:lnTo>
                      <a:pt x="64727" y="95129"/>
                    </a:lnTo>
                    <a:lnTo>
                      <a:pt x="61818" y="100725"/>
                    </a:lnTo>
                    <a:lnTo>
                      <a:pt x="52363" y="104455"/>
                    </a:lnTo>
                    <a:lnTo>
                      <a:pt x="45818" y="101347"/>
                    </a:lnTo>
                    <a:lnTo>
                      <a:pt x="34909" y="99481"/>
                    </a:lnTo>
                    <a:lnTo>
                      <a:pt x="23272" y="99481"/>
                    </a:lnTo>
                    <a:lnTo>
                      <a:pt x="11636" y="97616"/>
                    </a:lnTo>
                    <a:lnTo>
                      <a:pt x="2181" y="93886"/>
                    </a:lnTo>
                    <a:lnTo>
                      <a:pt x="0" y="88290"/>
                    </a:lnTo>
                    <a:lnTo>
                      <a:pt x="0" y="73989"/>
                    </a:lnTo>
                    <a:lnTo>
                      <a:pt x="5090" y="65906"/>
                    </a:lnTo>
                    <a:lnTo>
                      <a:pt x="5818" y="60310"/>
                    </a:lnTo>
                    <a:lnTo>
                      <a:pt x="14545" y="47253"/>
                    </a:lnTo>
                    <a:lnTo>
                      <a:pt x="18181" y="39170"/>
                    </a:lnTo>
                    <a:lnTo>
                      <a:pt x="13818" y="34196"/>
                    </a:lnTo>
                    <a:lnTo>
                      <a:pt x="20363" y="27979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4570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52" name="Shape 752"/>
              <p:cNvSpPr/>
              <p:nvPr/>
            </p:nvSpPr>
            <p:spPr>
              <a:xfrm>
                <a:off x="2062659" y="4778750"/>
                <a:ext cx="957354" cy="87283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7934" y="2545"/>
                    </a:moveTo>
                    <a:lnTo>
                      <a:pt x="32539" y="0"/>
                    </a:lnTo>
                    <a:lnTo>
                      <a:pt x="26513" y="909"/>
                    </a:lnTo>
                    <a:lnTo>
                      <a:pt x="16011" y="4363"/>
                    </a:lnTo>
                    <a:lnTo>
                      <a:pt x="12912" y="7454"/>
                    </a:lnTo>
                    <a:lnTo>
                      <a:pt x="11879" y="17818"/>
                    </a:lnTo>
                    <a:lnTo>
                      <a:pt x="11535" y="32000"/>
                    </a:lnTo>
                    <a:lnTo>
                      <a:pt x="7230" y="40363"/>
                    </a:lnTo>
                    <a:lnTo>
                      <a:pt x="3615" y="56000"/>
                    </a:lnTo>
                    <a:lnTo>
                      <a:pt x="2582" y="58181"/>
                    </a:lnTo>
                    <a:lnTo>
                      <a:pt x="6370" y="60363"/>
                    </a:lnTo>
                    <a:lnTo>
                      <a:pt x="4820" y="66545"/>
                    </a:lnTo>
                    <a:lnTo>
                      <a:pt x="6886" y="68000"/>
                    </a:lnTo>
                    <a:lnTo>
                      <a:pt x="11879" y="64181"/>
                    </a:lnTo>
                    <a:lnTo>
                      <a:pt x="22898" y="72363"/>
                    </a:lnTo>
                    <a:lnTo>
                      <a:pt x="22898" y="75272"/>
                    </a:lnTo>
                    <a:lnTo>
                      <a:pt x="28063" y="71272"/>
                    </a:lnTo>
                    <a:lnTo>
                      <a:pt x="29440" y="78545"/>
                    </a:lnTo>
                    <a:lnTo>
                      <a:pt x="34777" y="80000"/>
                    </a:lnTo>
                    <a:lnTo>
                      <a:pt x="39426" y="75090"/>
                    </a:lnTo>
                    <a:lnTo>
                      <a:pt x="42869" y="76727"/>
                    </a:lnTo>
                    <a:lnTo>
                      <a:pt x="47173" y="84000"/>
                    </a:lnTo>
                    <a:lnTo>
                      <a:pt x="53371" y="87090"/>
                    </a:lnTo>
                    <a:lnTo>
                      <a:pt x="57331" y="81636"/>
                    </a:lnTo>
                    <a:lnTo>
                      <a:pt x="63012" y="80727"/>
                    </a:lnTo>
                    <a:lnTo>
                      <a:pt x="69210" y="83454"/>
                    </a:lnTo>
                    <a:lnTo>
                      <a:pt x="75408" y="84363"/>
                    </a:lnTo>
                    <a:lnTo>
                      <a:pt x="79540" y="86000"/>
                    </a:lnTo>
                    <a:lnTo>
                      <a:pt x="87804" y="86000"/>
                    </a:lnTo>
                    <a:lnTo>
                      <a:pt x="91592" y="83818"/>
                    </a:lnTo>
                    <a:lnTo>
                      <a:pt x="93658" y="83272"/>
                    </a:lnTo>
                    <a:lnTo>
                      <a:pt x="99856" y="81090"/>
                    </a:lnTo>
                    <a:lnTo>
                      <a:pt x="102266" y="84000"/>
                    </a:lnTo>
                    <a:lnTo>
                      <a:pt x="98651" y="86000"/>
                    </a:lnTo>
                    <a:lnTo>
                      <a:pt x="87460" y="89272"/>
                    </a:lnTo>
                    <a:lnTo>
                      <a:pt x="76614" y="89272"/>
                    </a:lnTo>
                    <a:lnTo>
                      <a:pt x="67661" y="89818"/>
                    </a:lnTo>
                    <a:lnTo>
                      <a:pt x="62668" y="89818"/>
                    </a:lnTo>
                    <a:lnTo>
                      <a:pt x="59569" y="87272"/>
                    </a:lnTo>
                    <a:lnTo>
                      <a:pt x="54232" y="89818"/>
                    </a:lnTo>
                    <a:lnTo>
                      <a:pt x="47517" y="89454"/>
                    </a:lnTo>
                    <a:lnTo>
                      <a:pt x="43041" y="87818"/>
                    </a:lnTo>
                    <a:lnTo>
                      <a:pt x="37187" y="87272"/>
                    </a:lnTo>
                    <a:lnTo>
                      <a:pt x="34088" y="88909"/>
                    </a:lnTo>
                    <a:lnTo>
                      <a:pt x="30989" y="88181"/>
                    </a:lnTo>
                    <a:lnTo>
                      <a:pt x="27030" y="84000"/>
                    </a:lnTo>
                    <a:lnTo>
                      <a:pt x="24275" y="80545"/>
                    </a:lnTo>
                    <a:lnTo>
                      <a:pt x="22209" y="82363"/>
                    </a:lnTo>
                    <a:lnTo>
                      <a:pt x="21865" y="87636"/>
                    </a:lnTo>
                    <a:lnTo>
                      <a:pt x="19626" y="90000"/>
                    </a:lnTo>
                    <a:lnTo>
                      <a:pt x="17044" y="90000"/>
                    </a:lnTo>
                    <a:lnTo>
                      <a:pt x="15667" y="92727"/>
                    </a:lnTo>
                    <a:lnTo>
                      <a:pt x="20143" y="98545"/>
                    </a:lnTo>
                    <a:lnTo>
                      <a:pt x="17216" y="100363"/>
                    </a:lnTo>
                    <a:lnTo>
                      <a:pt x="11879" y="98000"/>
                    </a:lnTo>
                    <a:lnTo>
                      <a:pt x="7403" y="95272"/>
                    </a:lnTo>
                    <a:lnTo>
                      <a:pt x="6197" y="90545"/>
                    </a:lnTo>
                    <a:lnTo>
                      <a:pt x="2065" y="94181"/>
                    </a:lnTo>
                    <a:lnTo>
                      <a:pt x="688" y="101272"/>
                    </a:lnTo>
                    <a:lnTo>
                      <a:pt x="688" y="106181"/>
                    </a:lnTo>
                    <a:lnTo>
                      <a:pt x="0" y="110000"/>
                    </a:lnTo>
                    <a:lnTo>
                      <a:pt x="2754" y="111090"/>
                    </a:lnTo>
                    <a:lnTo>
                      <a:pt x="6714" y="115636"/>
                    </a:lnTo>
                    <a:lnTo>
                      <a:pt x="12912" y="120000"/>
                    </a:lnTo>
                    <a:lnTo>
                      <a:pt x="24275" y="118909"/>
                    </a:lnTo>
                    <a:lnTo>
                      <a:pt x="36671" y="118727"/>
                    </a:lnTo>
                    <a:lnTo>
                      <a:pt x="46484" y="118181"/>
                    </a:lnTo>
                    <a:lnTo>
                      <a:pt x="58364" y="114545"/>
                    </a:lnTo>
                    <a:lnTo>
                      <a:pt x="72998" y="110181"/>
                    </a:lnTo>
                    <a:lnTo>
                      <a:pt x="82123" y="107272"/>
                    </a:lnTo>
                    <a:lnTo>
                      <a:pt x="90387" y="105818"/>
                    </a:lnTo>
                    <a:lnTo>
                      <a:pt x="99856" y="105636"/>
                    </a:lnTo>
                    <a:lnTo>
                      <a:pt x="113285" y="110000"/>
                    </a:lnTo>
                    <a:lnTo>
                      <a:pt x="118967" y="110000"/>
                    </a:lnTo>
                    <a:lnTo>
                      <a:pt x="115695" y="100363"/>
                    </a:lnTo>
                    <a:lnTo>
                      <a:pt x="109670" y="84545"/>
                    </a:lnTo>
                    <a:lnTo>
                      <a:pt x="101922" y="80000"/>
                    </a:lnTo>
                    <a:lnTo>
                      <a:pt x="100373" y="70363"/>
                    </a:lnTo>
                    <a:lnTo>
                      <a:pt x="100373" y="59818"/>
                    </a:lnTo>
                    <a:lnTo>
                      <a:pt x="100373" y="54909"/>
                    </a:lnTo>
                    <a:lnTo>
                      <a:pt x="105538" y="46909"/>
                    </a:lnTo>
                    <a:lnTo>
                      <a:pt x="105365" y="40909"/>
                    </a:lnTo>
                    <a:lnTo>
                      <a:pt x="111563" y="27636"/>
                    </a:lnTo>
                    <a:lnTo>
                      <a:pt x="116728" y="16909"/>
                    </a:lnTo>
                    <a:lnTo>
                      <a:pt x="113802" y="9636"/>
                    </a:lnTo>
                    <a:lnTo>
                      <a:pt x="120000" y="2545"/>
                    </a:lnTo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36000" tIns="45700" rIns="36000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53" name="Shape 753"/>
              <p:cNvSpPr/>
              <p:nvPr/>
            </p:nvSpPr>
            <p:spPr>
              <a:xfrm>
                <a:off x="3224790" y="3096896"/>
                <a:ext cx="1280137" cy="115320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46094" y="7155"/>
                    </a:moveTo>
                    <a:lnTo>
                      <a:pt x="42746" y="19816"/>
                    </a:lnTo>
                    <a:lnTo>
                      <a:pt x="37339" y="21743"/>
                    </a:lnTo>
                    <a:lnTo>
                      <a:pt x="29613" y="21743"/>
                    </a:lnTo>
                    <a:lnTo>
                      <a:pt x="25236" y="22018"/>
                    </a:lnTo>
                    <a:lnTo>
                      <a:pt x="20600" y="26146"/>
                    </a:lnTo>
                    <a:lnTo>
                      <a:pt x="14420" y="32477"/>
                    </a:lnTo>
                    <a:lnTo>
                      <a:pt x="10300" y="37981"/>
                    </a:lnTo>
                    <a:lnTo>
                      <a:pt x="7982" y="39908"/>
                    </a:lnTo>
                    <a:lnTo>
                      <a:pt x="6952" y="47339"/>
                    </a:lnTo>
                    <a:lnTo>
                      <a:pt x="6952" y="54495"/>
                    </a:lnTo>
                    <a:lnTo>
                      <a:pt x="3862" y="63853"/>
                    </a:lnTo>
                    <a:lnTo>
                      <a:pt x="515" y="70733"/>
                    </a:lnTo>
                    <a:lnTo>
                      <a:pt x="0" y="74311"/>
                    </a:lnTo>
                    <a:lnTo>
                      <a:pt x="3347" y="74587"/>
                    </a:lnTo>
                    <a:lnTo>
                      <a:pt x="4892" y="78165"/>
                    </a:lnTo>
                    <a:lnTo>
                      <a:pt x="11330" y="79816"/>
                    </a:lnTo>
                    <a:lnTo>
                      <a:pt x="11587" y="87522"/>
                    </a:lnTo>
                    <a:lnTo>
                      <a:pt x="19313" y="92201"/>
                    </a:lnTo>
                    <a:lnTo>
                      <a:pt x="21888" y="96055"/>
                    </a:lnTo>
                    <a:lnTo>
                      <a:pt x="21373" y="100733"/>
                    </a:lnTo>
                    <a:lnTo>
                      <a:pt x="19055" y="102935"/>
                    </a:lnTo>
                    <a:lnTo>
                      <a:pt x="22403" y="108440"/>
                    </a:lnTo>
                    <a:lnTo>
                      <a:pt x="26781" y="112293"/>
                    </a:lnTo>
                    <a:lnTo>
                      <a:pt x="29871" y="109541"/>
                    </a:lnTo>
                    <a:lnTo>
                      <a:pt x="31673" y="106238"/>
                    </a:lnTo>
                    <a:lnTo>
                      <a:pt x="36051" y="107339"/>
                    </a:lnTo>
                    <a:lnTo>
                      <a:pt x="40171" y="109266"/>
                    </a:lnTo>
                    <a:lnTo>
                      <a:pt x="44549" y="108990"/>
                    </a:lnTo>
                    <a:lnTo>
                      <a:pt x="49442" y="111467"/>
                    </a:lnTo>
                    <a:lnTo>
                      <a:pt x="50214" y="115871"/>
                    </a:lnTo>
                    <a:lnTo>
                      <a:pt x="50987" y="118073"/>
                    </a:lnTo>
                    <a:lnTo>
                      <a:pt x="55879" y="116422"/>
                    </a:lnTo>
                    <a:lnTo>
                      <a:pt x="60000" y="115321"/>
                    </a:lnTo>
                    <a:lnTo>
                      <a:pt x="62060" y="115596"/>
                    </a:lnTo>
                    <a:lnTo>
                      <a:pt x="67725" y="116697"/>
                    </a:lnTo>
                    <a:lnTo>
                      <a:pt x="75193" y="120000"/>
                    </a:lnTo>
                    <a:lnTo>
                      <a:pt x="75193" y="116697"/>
                    </a:lnTo>
                    <a:lnTo>
                      <a:pt x="79055" y="110917"/>
                    </a:lnTo>
                    <a:lnTo>
                      <a:pt x="90901" y="105137"/>
                    </a:lnTo>
                    <a:lnTo>
                      <a:pt x="100171" y="98532"/>
                    </a:lnTo>
                    <a:lnTo>
                      <a:pt x="107124" y="86422"/>
                    </a:lnTo>
                    <a:lnTo>
                      <a:pt x="112274" y="75412"/>
                    </a:lnTo>
                    <a:lnTo>
                      <a:pt x="112274" y="70183"/>
                    </a:lnTo>
                    <a:lnTo>
                      <a:pt x="111244" y="62201"/>
                    </a:lnTo>
                    <a:lnTo>
                      <a:pt x="115879" y="48165"/>
                    </a:lnTo>
                    <a:lnTo>
                      <a:pt x="112274" y="45688"/>
                    </a:lnTo>
                    <a:lnTo>
                      <a:pt x="111759" y="41559"/>
                    </a:lnTo>
                    <a:lnTo>
                      <a:pt x="113304" y="30825"/>
                    </a:lnTo>
                    <a:lnTo>
                      <a:pt x="112017" y="21467"/>
                    </a:lnTo>
                    <a:lnTo>
                      <a:pt x="120000" y="17889"/>
                    </a:lnTo>
                    <a:lnTo>
                      <a:pt x="117939" y="14587"/>
                    </a:lnTo>
                    <a:lnTo>
                      <a:pt x="113562" y="12385"/>
                    </a:lnTo>
                    <a:lnTo>
                      <a:pt x="101974" y="9908"/>
                    </a:lnTo>
                    <a:lnTo>
                      <a:pt x="91931" y="9357"/>
                    </a:lnTo>
                    <a:lnTo>
                      <a:pt x="88841" y="8807"/>
                    </a:lnTo>
                    <a:lnTo>
                      <a:pt x="84206" y="5504"/>
                    </a:lnTo>
                    <a:lnTo>
                      <a:pt x="79570" y="0"/>
                    </a:lnTo>
                    <a:lnTo>
                      <a:pt x="72618" y="1926"/>
                    </a:lnTo>
                    <a:lnTo>
                      <a:pt x="67467" y="8532"/>
                    </a:lnTo>
                    <a:lnTo>
                      <a:pt x="61802" y="12660"/>
                    </a:lnTo>
                    <a:lnTo>
                      <a:pt x="57939" y="12385"/>
                    </a:lnTo>
                    <a:lnTo>
                      <a:pt x="51502" y="9357"/>
                    </a:lnTo>
                    <a:lnTo>
                      <a:pt x="46094" y="7155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4570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54" name="Shape 754"/>
              <p:cNvSpPr/>
              <p:nvPr/>
            </p:nvSpPr>
            <p:spPr>
              <a:xfrm>
                <a:off x="2696514" y="3543282"/>
                <a:ext cx="1082443" cy="84733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96894"/>
                    </a:moveTo>
                    <a:lnTo>
                      <a:pt x="114822" y="96521"/>
                    </a:lnTo>
                    <a:lnTo>
                      <a:pt x="106294" y="94658"/>
                    </a:lnTo>
                    <a:lnTo>
                      <a:pt x="99289" y="93913"/>
                    </a:lnTo>
                    <a:lnTo>
                      <a:pt x="94720" y="94658"/>
                    </a:lnTo>
                    <a:lnTo>
                      <a:pt x="90152" y="101739"/>
                    </a:lnTo>
                    <a:lnTo>
                      <a:pt x="87411" y="104347"/>
                    </a:lnTo>
                    <a:lnTo>
                      <a:pt x="84060" y="112546"/>
                    </a:lnTo>
                    <a:lnTo>
                      <a:pt x="80710" y="120000"/>
                    </a:lnTo>
                    <a:lnTo>
                      <a:pt x="71878" y="120000"/>
                    </a:lnTo>
                    <a:lnTo>
                      <a:pt x="58172" y="119627"/>
                    </a:lnTo>
                    <a:lnTo>
                      <a:pt x="34416" y="118509"/>
                    </a:lnTo>
                    <a:lnTo>
                      <a:pt x="33502" y="115527"/>
                    </a:lnTo>
                    <a:lnTo>
                      <a:pt x="31675" y="112919"/>
                    </a:lnTo>
                    <a:lnTo>
                      <a:pt x="27715" y="108074"/>
                    </a:lnTo>
                    <a:lnTo>
                      <a:pt x="26497" y="105465"/>
                    </a:lnTo>
                    <a:lnTo>
                      <a:pt x="24060" y="102111"/>
                    </a:lnTo>
                    <a:lnTo>
                      <a:pt x="22233" y="97267"/>
                    </a:lnTo>
                    <a:lnTo>
                      <a:pt x="20710" y="93167"/>
                    </a:lnTo>
                    <a:lnTo>
                      <a:pt x="18274" y="89813"/>
                    </a:lnTo>
                    <a:lnTo>
                      <a:pt x="15837" y="86832"/>
                    </a:lnTo>
                    <a:lnTo>
                      <a:pt x="15837" y="81242"/>
                    </a:lnTo>
                    <a:lnTo>
                      <a:pt x="18578" y="77142"/>
                    </a:lnTo>
                    <a:lnTo>
                      <a:pt x="20101" y="71552"/>
                    </a:lnTo>
                    <a:lnTo>
                      <a:pt x="20406" y="66708"/>
                    </a:lnTo>
                    <a:lnTo>
                      <a:pt x="18578" y="59254"/>
                    </a:lnTo>
                    <a:lnTo>
                      <a:pt x="15532" y="52173"/>
                    </a:lnTo>
                    <a:lnTo>
                      <a:pt x="16751" y="42857"/>
                    </a:lnTo>
                    <a:lnTo>
                      <a:pt x="15532" y="38385"/>
                    </a:lnTo>
                    <a:lnTo>
                      <a:pt x="11573" y="35403"/>
                    </a:lnTo>
                    <a:lnTo>
                      <a:pt x="7918" y="30931"/>
                    </a:lnTo>
                    <a:lnTo>
                      <a:pt x="13401" y="28695"/>
                    </a:lnTo>
                    <a:lnTo>
                      <a:pt x="15228" y="28322"/>
                    </a:lnTo>
                    <a:lnTo>
                      <a:pt x="11573" y="24968"/>
                    </a:lnTo>
                    <a:lnTo>
                      <a:pt x="7918" y="24596"/>
                    </a:lnTo>
                    <a:lnTo>
                      <a:pt x="2131" y="27950"/>
                    </a:lnTo>
                    <a:lnTo>
                      <a:pt x="0" y="29068"/>
                    </a:lnTo>
                    <a:lnTo>
                      <a:pt x="3045" y="19751"/>
                    </a:lnTo>
                    <a:lnTo>
                      <a:pt x="5482" y="15652"/>
                    </a:lnTo>
                    <a:lnTo>
                      <a:pt x="8527" y="7080"/>
                    </a:lnTo>
                    <a:lnTo>
                      <a:pt x="15532" y="3354"/>
                    </a:lnTo>
                    <a:lnTo>
                      <a:pt x="27715" y="0"/>
                    </a:lnTo>
                    <a:lnTo>
                      <a:pt x="31675" y="1118"/>
                    </a:lnTo>
                    <a:lnTo>
                      <a:pt x="28629" y="8944"/>
                    </a:lnTo>
                    <a:lnTo>
                      <a:pt x="27411" y="17515"/>
                    </a:lnTo>
                    <a:lnTo>
                      <a:pt x="28629" y="24596"/>
                    </a:lnTo>
                    <a:lnTo>
                      <a:pt x="34111" y="32422"/>
                    </a:lnTo>
                    <a:lnTo>
                      <a:pt x="39289" y="39130"/>
                    </a:lnTo>
                    <a:lnTo>
                      <a:pt x="48426" y="41366"/>
                    </a:lnTo>
                    <a:lnTo>
                      <a:pt x="53908" y="38385"/>
                    </a:lnTo>
                    <a:lnTo>
                      <a:pt x="58172" y="36894"/>
                    </a:lnTo>
                    <a:lnTo>
                      <a:pt x="62741" y="37639"/>
                    </a:lnTo>
                    <a:lnTo>
                      <a:pt x="65177" y="41366"/>
                    </a:lnTo>
                    <a:lnTo>
                      <a:pt x="73705" y="44720"/>
                    </a:lnTo>
                    <a:lnTo>
                      <a:pt x="74010" y="55155"/>
                    </a:lnTo>
                    <a:lnTo>
                      <a:pt x="78274" y="58136"/>
                    </a:lnTo>
                    <a:lnTo>
                      <a:pt x="83756" y="62608"/>
                    </a:lnTo>
                    <a:lnTo>
                      <a:pt x="84974" y="69689"/>
                    </a:lnTo>
                    <a:lnTo>
                      <a:pt x="83451" y="74906"/>
                    </a:lnTo>
                    <a:lnTo>
                      <a:pt x="84060" y="79378"/>
                    </a:lnTo>
                    <a:lnTo>
                      <a:pt x="89847" y="87577"/>
                    </a:lnTo>
                    <a:lnTo>
                      <a:pt x="92588" y="89068"/>
                    </a:lnTo>
                    <a:lnTo>
                      <a:pt x="96852" y="81987"/>
                    </a:lnTo>
                    <a:lnTo>
                      <a:pt x="100507" y="80124"/>
                    </a:lnTo>
                    <a:lnTo>
                      <a:pt x="105685" y="84596"/>
                    </a:lnTo>
                    <a:lnTo>
                      <a:pt x="114213" y="84968"/>
                    </a:lnTo>
                    <a:lnTo>
                      <a:pt x="118172" y="88322"/>
                    </a:lnTo>
                    <a:lnTo>
                      <a:pt x="120000" y="96894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4570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55" name="Shape 755"/>
              <p:cNvSpPr/>
              <p:nvPr/>
            </p:nvSpPr>
            <p:spPr>
              <a:xfrm>
                <a:off x="2202132" y="2956375"/>
                <a:ext cx="1530126" cy="142177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69450"/>
                    </a:moveTo>
                    <a:lnTo>
                      <a:pt x="5385" y="67472"/>
                    </a:lnTo>
                    <a:lnTo>
                      <a:pt x="6678" y="62857"/>
                    </a:lnTo>
                    <a:lnTo>
                      <a:pt x="5385" y="58681"/>
                    </a:lnTo>
                    <a:lnTo>
                      <a:pt x="5170" y="56703"/>
                    </a:lnTo>
                    <a:lnTo>
                      <a:pt x="6678" y="51648"/>
                    </a:lnTo>
                    <a:lnTo>
                      <a:pt x="7971" y="45494"/>
                    </a:lnTo>
                    <a:lnTo>
                      <a:pt x="9910" y="39120"/>
                    </a:lnTo>
                    <a:lnTo>
                      <a:pt x="14865" y="34945"/>
                    </a:lnTo>
                    <a:lnTo>
                      <a:pt x="19605" y="30549"/>
                    </a:lnTo>
                    <a:lnTo>
                      <a:pt x="21759" y="28351"/>
                    </a:lnTo>
                    <a:lnTo>
                      <a:pt x="27791" y="27472"/>
                    </a:lnTo>
                    <a:lnTo>
                      <a:pt x="37701" y="28571"/>
                    </a:lnTo>
                    <a:lnTo>
                      <a:pt x="47612" y="29890"/>
                    </a:lnTo>
                    <a:lnTo>
                      <a:pt x="56445" y="31648"/>
                    </a:lnTo>
                    <a:lnTo>
                      <a:pt x="66570" y="32307"/>
                    </a:lnTo>
                    <a:lnTo>
                      <a:pt x="73249" y="32307"/>
                    </a:lnTo>
                    <a:lnTo>
                      <a:pt x="82513" y="28791"/>
                    </a:lnTo>
                    <a:lnTo>
                      <a:pt x="88114" y="21538"/>
                    </a:lnTo>
                    <a:lnTo>
                      <a:pt x="90915" y="12087"/>
                    </a:lnTo>
                    <a:lnTo>
                      <a:pt x="94362" y="1978"/>
                    </a:lnTo>
                    <a:lnTo>
                      <a:pt x="98025" y="0"/>
                    </a:lnTo>
                    <a:lnTo>
                      <a:pt x="103195" y="0"/>
                    </a:lnTo>
                    <a:lnTo>
                      <a:pt x="106211" y="3076"/>
                    </a:lnTo>
                    <a:lnTo>
                      <a:pt x="112459" y="1758"/>
                    </a:lnTo>
                    <a:lnTo>
                      <a:pt x="113321" y="7032"/>
                    </a:lnTo>
                    <a:lnTo>
                      <a:pt x="113536" y="9890"/>
                    </a:lnTo>
                    <a:lnTo>
                      <a:pt x="116122" y="13186"/>
                    </a:lnTo>
                    <a:lnTo>
                      <a:pt x="120000" y="16703"/>
                    </a:lnTo>
                    <a:lnTo>
                      <a:pt x="117630" y="24175"/>
                    </a:lnTo>
                    <a:lnTo>
                      <a:pt x="116337" y="27692"/>
                    </a:lnTo>
                    <a:lnTo>
                      <a:pt x="115044" y="29010"/>
                    </a:lnTo>
                    <a:lnTo>
                      <a:pt x="111382" y="29010"/>
                    </a:lnTo>
                    <a:lnTo>
                      <a:pt x="107719" y="29670"/>
                    </a:lnTo>
                    <a:lnTo>
                      <a:pt x="103411" y="29670"/>
                    </a:lnTo>
                    <a:lnTo>
                      <a:pt x="101256" y="30549"/>
                    </a:lnTo>
                    <a:lnTo>
                      <a:pt x="95870" y="34945"/>
                    </a:lnTo>
                    <a:lnTo>
                      <a:pt x="87253" y="45494"/>
                    </a:lnTo>
                    <a:lnTo>
                      <a:pt x="86822" y="52527"/>
                    </a:lnTo>
                    <a:lnTo>
                      <a:pt x="86175" y="58901"/>
                    </a:lnTo>
                    <a:lnTo>
                      <a:pt x="81220" y="70109"/>
                    </a:lnTo>
                    <a:lnTo>
                      <a:pt x="80574" y="71648"/>
                    </a:lnTo>
                    <a:lnTo>
                      <a:pt x="75834" y="73186"/>
                    </a:lnTo>
                    <a:lnTo>
                      <a:pt x="71095" y="74505"/>
                    </a:lnTo>
                    <a:lnTo>
                      <a:pt x="68294" y="73626"/>
                    </a:lnTo>
                    <a:lnTo>
                      <a:pt x="66570" y="72307"/>
                    </a:lnTo>
                    <a:lnTo>
                      <a:pt x="63554" y="70329"/>
                    </a:lnTo>
                    <a:lnTo>
                      <a:pt x="60969" y="67032"/>
                    </a:lnTo>
                    <a:lnTo>
                      <a:pt x="59461" y="64395"/>
                    </a:lnTo>
                    <a:lnTo>
                      <a:pt x="58599" y="60219"/>
                    </a:lnTo>
                    <a:lnTo>
                      <a:pt x="58384" y="56263"/>
                    </a:lnTo>
                    <a:lnTo>
                      <a:pt x="60323" y="52747"/>
                    </a:lnTo>
                    <a:lnTo>
                      <a:pt x="61400" y="50109"/>
                    </a:lnTo>
                    <a:lnTo>
                      <a:pt x="59030" y="49670"/>
                    </a:lnTo>
                    <a:lnTo>
                      <a:pt x="53644" y="50989"/>
                    </a:lnTo>
                    <a:lnTo>
                      <a:pt x="48043" y="52967"/>
                    </a:lnTo>
                    <a:lnTo>
                      <a:pt x="45242" y="52967"/>
                    </a:lnTo>
                    <a:lnTo>
                      <a:pt x="43518" y="56923"/>
                    </a:lnTo>
                    <a:lnTo>
                      <a:pt x="41364" y="60439"/>
                    </a:lnTo>
                    <a:lnTo>
                      <a:pt x="39210" y="63516"/>
                    </a:lnTo>
                    <a:lnTo>
                      <a:pt x="38132" y="66813"/>
                    </a:lnTo>
                    <a:lnTo>
                      <a:pt x="41364" y="66153"/>
                    </a:lnTo>
                    <a:lnTo>
                      <a:pt x="43949" y="64835"/>
                    </a:lnTo>
                    <a:lnTo>
                      <a:pt x="46535" y="65054"/>
                    </a:lnTo>
                    <a:lnTo>
                      <a:pt x="49766" y="66593"/>
                    </a:lnTo>
                    <a:lnTo>
                      <a:pt x="46319" y="67472"/>
                    </a:lnTo>
                    <a:lnTo>
                      <a:pt x="45026" y="67692"/>
                    </a:lnTo>
                    <a:lnTo>
                      <a:pt x="46535" y="70109"/>
                    </a:lnTo>
                    <a:lnTo>
                      <a:pt x="49766" y="72307"/>
                    </a:lnTo>
                    <a:lnTo>
                      <a:pt x="50197" y="76923"/>
                    </a:lnTo>
                    <a:lnTo>
                      <a:pt x="50197" y="78461"/>
                    </a:lnTo>
                    <a:lnTo>
                      <a:pt x="50843" y="80659"/>
                    </a:lnTo>
                    <a:lnTo>
                      <a:pt x="51490" y="84835"/>
                    </a:lnTo>
                    <a:lnTo>
                      <a:pt x="52782" y="89670"/>
                    </a:lnTo>
                    <a:lnTo>
                      <a:pt x="51921" y="93846"/>
                    </a:lnTo>
                    <a:lnTo>
                      <a:pt x="49766" y="99340"/>
                    </a:lnTo>
                    <a:lnTo>
                      <a:pt x="50843" y="101978"/>
                    </a:lnTo>
                    <a:lnTo>
                      <a:pt x="52998" y="105934"/>
                    </a:lnTo>
                    <a:lnTo>
                      <a:pt x="55798" y="109450"/>
                    </a:lnTo>
                    <a:lnTo>
                      <a:pt x="59676" y="115604"/>
                    </a:lnTo>
                    <a:lnTo>
                      <a:pt x="63339" y="119999"/>
                    </a:lnTo>
                    <a:lnTo>
                      <a:pt x="55798" y="119999"/>
                    </a:lnTo>
                    <a:lnTo>
                      <a:pt x="45457" y="119340"/>
                    </a:lnTo>
                    <a:lnTo>
                      <a:pt x="27791" y="118901"/>
                    </a:lnTo>
                    <a:lnTo>
                      <a:pt x="16588" y="118241"/>
                    </a:lnTo>
                    <a:lnTo>
                      <a:pt x="15511" y="114725"/>
                    </a:lnTo>
                    <a:lnTo>
                      <a:pt x="14219" y="111208"/>
                    </a:lnTo>
                    <a:lnTo>
                      <a:pt x="11633" y="110769"/>
                    </a:lnTo>
                    <a:lnTo>
                      <a:pt x="9910" y="109230"/>
                    </a:lnTo>
                    <a:lnTo>
                      <a:pt x="9479" y="105494"/>
                    </a:lnTo>
                    <a:lnTo>
                      <a:pt x="10341" y="100219"/>
                    </a:lnTo>
                    <a:lnTo>
                      <a:pt x="12064" y="97142"/>
                    </a:lnTo>
                    <a:lnTo>
                      <a:pt x="15727" y="95824"/>
                    </a:lnTo>
                    <a:lnTo>
                      <a:pt x="20897" y="94285"/>
                    </a:lnTo>
                    <a:lnTo>
                      <a:pt x="21974" y="91648"/>
                    </a:lnTo>
                    <a:lnTo>
                      <a:pt x="24991" y="89890"/>
                    </a:lnTo>
                    <a:lnTo>
                      <a:pt x="23052" y="87692"/>
                    </a:lnTo>
                    <a:lnTo>
                      <a:pt x="24775" y="84615"/>
                    </a:lnTo>
                    <a:lnTo>
                      <a:pt x="24129" y="82637"/>
                    </a:lnTo>
                    <a:lnTo>
                      <a:pt x="21974" y="81538"/>
                    </a:lnTo>
                    <a:lnTo>
                      <a:pt x="19820" y="80659"/>
                    </a:lnTo>
                    <a:lnTo>
                      <a:pt x="18096" y="80659"/>
                    </a:lnTo>
                    <a:lnTo>
                      <a:pt x="17450" y="77362"/>
                    </a:lnTo>
                    <a:lnTo>
                      <a:pt x="19174" y="74505"/>
                    </a:lnTo>
                    <a:lnTo>
                      <a:pt x="22405" y="70769"/>
                    </a:lnTo>
                    <a:lnTo>
                      <a:pt x="22836" y="68351"/>
                    </a:lnTo>
                    <a:lnTo>
                      <a:pt x="26068" y="67692"/>
                    </a:lnTo>
                    <a:lnTo>
                      <a:pt x="32100" y="69230"/>
                    </a:lnTo>
                    <a:lnTo>
                      <a:pt x="35763" y="70769"/>
                    </a:lnTo>
                    <a:lnTo>
                      <a:pt x="38779" y="70989"/>
                    </a:lnTo>
                    <a:lnTo>
                      <a:pt x="42441" y="69230"/>
                    </a:lnTo>
                    <a:lnTo>
                      <a:pt x="37701" y="68351"/>
                    </a:lnTo>
                    <a:lnTo>
                      <a:pt x="34254" y="66813"/>
                    </a:lnTo>
                    <a:lnTo>
                      <a:pt x="30807" y="65934"/>
                    </a:lnTo>
                    <a:cubicBezTo>
                      <a:pt x="29299" y="65164"/>
                      <a:pt x="27791" y="64615"/>
                      <a:pt x="26068" y="64615"/>
                    </a:cubicBezTo>
                    <a:lnTo>
                      <a:pt x="20897" y="65934"/>
                    </a:lnTo>
                    <a:lnTo>
                      <a:pt x="18743" y="70109"/>
                    </a:lnTo>
                    <a:lnTo>
                      <a:pt x="16588" y="72527"/>
                    </a:lnTo>
                    <a:lnTo>
                      <a:pt x="14003" y="76043"/>
                    </a:lnTo>
                    <a:lnTo>
                      <a:pt x="13141" y="79120"/>
                    </a:lnTo>
                    <a:lnTo>
                      <a:pt x="11633" y="79340"/>
                    </a:lnTo>
                    <a:lnTo>
                      <a:pt x="10125" y="76923"/>
                    </a:lnTo>
                    <a:lnTo>
                      <a:pt x="6463" y="73406"/>
                    </a:lnTo>
                    <a:lnTo>
                      <a:pt x="1077" y="71208"/>
                    </a:lnTo>
                    <a:lnTo>
                      <a:pt x="0" y="69450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72000" tIns="45700" rIns="91425" bIns="45700" anchor="ctr" anchorCtr="0">
                <a:noAutofit/>
              </a:bodyPr>
              <a:lstStyle/>
              <a:p>
                <a:pPr marL="0" marR="0" lvl="0" indent="26670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56" name="Shape 756"/>
              <p:cNvSpPr/>
              <p:nvPr/>
            </p:nvSpPr>
            <p:spPr>
              <a:xfrm>
                <a:off x="2383439" y="2884965"/>
                <a:ext cx="1016418" cy="457576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108" y="110982"/>
                    </a:moveTo>
                    <a:lnTo>
                      <a:pt x="2270" y="103352"/>
                    </a:lnTo>
                    <a:lnTo>
                      <a:pt x="0" y="95028"/>
                    </a:lnTo>
                    <a:lnTo>
                      <a:pt x="3243" y="80462"/>
                    </a:lnTo>
                    <a:lnTo>
                      <a:pt x="5837" y="67283"/>
                    </a:lnTo>
                    <a:lnTo>
                      <a:pt x="6810" y="57572"/>
                    </a:lnTo>
                    <a:lnTo>
                      <a:pt x="4864" y="47861"/>
                    </a:lnTo>
                    <a:lnTo>
                      <a:pt x="2270" y="39537"/>
                    </a:lnTo>
                    <a:lnTo>
                      <a:pt x="1945" y="30520"/>
                    </a:lnTo>
                    <a:lnTo>
                      <a:pt x="7135" y="27745"/>
                    </a:lnTo>
                    <a:lnTo>
                      <a:pt x="14918" y="19421"/>
                    </a:lnTo>
                    <a:lnTo>
                      <a:pt x="21729" y="7630"/>
                    </a:lnTo>
                    <a:lnTo>
                      <a:pt x="32756" y="2774"/>
                    </a:lnTo>
                    <a:lnTo>
                      <a:pt x="43135" y="0"/>
                    </a:lnTo>
                    <a:lnTo>
                      <a:pt x="58054" y="7630"/>
                    </a:lnTo>
                    <a:lnTo>
                      <a:pt x="66810" y="12485"/>
                    </a:lnTo>
                    <a:lnTo>
                      <a:pt x="75891" y="11791"/>
                    </a:lnTo>
                    <a:lnTo>
                      <a:pt x="86918" y="16647"/>
                    </a:lnTo>
                    <a:lnTo>
                      <a:pt x="105081" y="19421"/>
                    </a:lnTo>
                    <a:lnTo>
                      <a:pt x="120000" y="26358"/>
                    </a:lnTo>
                    <a:lnTo>
                      <a:pt x="118054" y="41618"/>
                    </a:lnTo>
                    <a:lnTo>
                      <a:pt x="113189" y="69364"/>
                    </a:lnTo>
                    <a:lnTo>
                      <a:pt x="109945" y="90867"/>
                    </a:lnTo>
                    <a:lnTo>
                      <a:pt x="102810" y="106820"/>
                    </a:lnTo>
                    <a:lnTo>
                      <a:pt x="92756" y="117919"/>
                    </a:lnTo>
                    <a:lnTo>
                      <a:pt x="83351" y="120000"/>
                    </a:lnTo>
                    <a:lnTo>
                      <a:pt x="66486" y="118612"/>
                    </a:lnTo>
                    <a:lnTo>
                      <a:pt x="52864" y="113757"/>
                    </a:lnTo>
                    <a:lnTo>
                      <a:pt x="38594" y="109595"/>
                    </a:lnTo>
                    <a:lnTo>
                      <a:pt x="28216" y="106820"/>
                    </a:lnTo>
                    <a:lnTo>
                      <a:pt x="20756" y="105433"/>
                    </a:lnTo>
                    <a:lnTo>
                      <a:pt x="13945" y="106820"/>
                    </a:lnTo>
                    <a:lnTo>
                      <a:pt x="8108" y="110982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4570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57" name="Shape 757"/>
              <p:cNvSpPr/>
              <p:nvPr/>
            </p:nvSpPr>
            <p:spPr>
              <a:xfrm>
                <a:off x="1897206" y="2324240"/>
                <a:ext cx="1126298" cy="147323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61463" y="0"/>
                    </a:moveTo>
                    <a:lnTo>
                      <a:pt x="53853" y="4739"/>
                    </a:lnTo>
                    <a:lnTo>
                      <a:pt x="47121" y="11202"/>
                    </a:lnTo>
                    <a:lnTo>
                      <a:pt x="42146" y="16373"/>
                    </a:lnTo>
                    <a:lnTo>
                      <a:pt x="38341" y="22621"/>
                    </a:lnTo>
                    <a:lnTo>
                      <a:pt x="36585" y="26929"/>
                    </a:lnTo>
                    <a:lnTo>
                      <a:pt x="33658" y="29084"/>
                    </a:lnTo>
                    <a:lnTo>
                      <a:pt x="28390" y="31454"/>
                    </a:lnTo>
                    <a:lnTo>
                      <a:pt x="26341" y="33393"/>
                    </a:lnTo>
                    <a:lnTo>
                      <a:pt x="21365" y="36193"/>
                    </a:lnTo>
                    <a:lnTo>
                      <a:pt x="18439" y="38563"/>
                    </a:lnTo>
                    <a:lnTo>
                      <a:pt x="17560" y="40718"/>
                    </a:lnTo>
                    <a:lnTo>
                      <a:pt x="11707" y="42657"/>
                    </a:lnTo>
                    <a:lnTo>
                      <a:pt x="4390" y="47181"/>
                    </a:lnTo>
                    <a:lnTo>
                      <a:pt x="0" y="51274"/>
                    </a:lnTo>
                    <a:lnTo>
                      <a:pt x="3219" y="54075"/>
                    </a:lnTo>
                    <a:lnTo>
                      <a:pt x="8487" y="58384"/>
                    </a:lnTo>
                    <a:lnTo>
                      <a:pt x="12000" y="63554"/>
                    </a:lnTo>
                    <a:lnTo>
                      <a:pt x="13170" y="70879"/>
                    </a:lnTo>
                    <a:lnTo>
                      <a:pt x="13170" y="77342"/>
                    </a:lnTo>
                    <a:lnTo>
                      <a:pt x="9658" y="83590"/>
                    </a:lnTo>
                    <a:lnTo>
                      <a:pt x="6146" y="87253"/>
                    </a:lnTo>
                    <a:lnTo>
                      <a:pt x="8780" y="89838"/>
                    </a:lnTo>
                    <a:lnTo>
                      <a:pt x="13463" y="91777"/>
                    </a:lnTo>
                    <a:lnTo>
                      <a:pt x="19317" y="93931"/>
                    </a:lnTo>
                    <a:lnTo>
                      <a:pt x="21951" y="98456"/>
                    </a:lnTo>
                    <a:lnTo>
                      <a:pt x="23707" y="108366"/>
                    </a:lnTo>
                    <a:lnTo>
                      <a:pt x="26634" y="111382"/>
                    </a:lnTo>
                    <a:lnTo>
                      <a:pt x="31024" y="120000"/>
                    </a:lnTo>
                    <a:lnTo>
                      <a:pt x="34829" y="118707"/>
                    </a:lnTo>
                    <a:lnTo>
                      <a:pt x="39512" y="117414"/>
                    </a:lnTo>
                    <a:lnTo>
                      <a:pt x="41268" y="113321"/>
                    </a:lnTo>
                    <a:lnTo>
                      <a:pt x="39512" y="107935"/>
                    </a:lnTo>
                    <a:lnTo>
                      <a:pt x="41560" y="100610"/>
                    </a:lnTo>
                    <a:lnTo>
                      <a:pt x="44487" y="92208"/>
                    </a:lnTo>
                    <a:lnTo>
                      <a:pt x="47414" y="88761"/>
                    </a:lnTo>
                    <a:lnTo>
                      <a:pt x="56195" y="83375"/>
                    </a:lnTo>
                    <a:lnTo>
                      <a:pt x="60000" y="80359"/>
                    </a:lnTo>
                    <a:lnTo>
                      <a:pt x="55902" y="77989"/>
                    </a:lnTo>
                    <a:lnTo>
                      <a:pt x="52390" y="76481"/>
                    </a:lnTo>
                    <a:lnTo>
                      <a:pt x="52097" y="74111"/>
                    </a:lnTo>
                    <a:lnTo>
                      <a:pt x="54146" y="71095"/>
                    </a:lnTo>
                    <a:lnTo>
                      <a:pt x="57365" y="67432"/>
                    </a:lnTo>
                    <a:lnTo>
                      <a:pt x="57658" y="63123"/>
                    </a:lnTo>
                    <a:lnTo>
                      <a:pt x="55024" y="58815"/>
                    </a:lnTo>
                    <a:lnTo>
                      <a:pt x="52975" y="54937"/>
                    </a:lnTo>
                    <a:lnTo>
                      <a:pt x="57365" y="54290"/>
                    </a:lnTo>
                    <a:lnTo>
                      <a:pt x="65268" y="51059"/>
                    </a:lnTo>
                    <a:lnTo>
                      <a:pt x="71121" y="47827"/>
                    </a:lnTo>
                    <a:lnTo>
                      <a:pt x="84292" y="46104"/>
                    </a:lnTo>
                    <a:lnTo>
                      <a:pt x="90731" y="45673"/>
                    </a:lnTo>
                    <a:lnTo>
                      <a:pt x="99219" y="47396"/>
                    </a:lnTo>
                    <a:lnTo>
                      <a:pt x="112097" y="49120"/>
                    </a:lnTo>
                    <a:lnTo>
                      <a:pt x="120000" y="49120"/>
                    </a:lnTo>
                    <a:lnTo>
                      <a:pt x="118829" y="43518"/>
                    </a:lnTo>
                    <a:lnTo>
                      <a:pt x="119414" y="31023"/>
                    </a:lnTo>
                    <a:lnTo>
                      <a:pt x="113268" y="27576"/>
                    </a:lnTo>
                    <a:lnTo>
                      <a:pt x="102439" y="22405"/>
                    </a:lnTo>
                    <a:lnTo>
                      <a:pt x="97170" y="13141"/>
                    </a:lnTo>
                    <a:lnTo>
                      <a:pt x="92780" y="15511"/>
                    </a:lnTo>
                    <a:lnTo>
                      <a:pt x="88390" y="18096"/>
                    </a:lnTo>
                    <a:lnTo>
                      <a:pt x="84292" y="20682"/>
                    </a:lnTo>
                    <a:lnTo>
                      <a:pt x="81658" y="22621"/>
                    </a:lnTo>
                    <a:lnTo>
                      <a:pt x="78731" y="24775"/>
                    </a:lnTo>
                    <a:lnTo>
                      <a:pt x="70536" y="30161"/>
                    </a:lnTo>
                    <a:lnTo>
                      <a:pt x="62634" y="27145"/>
                    </a:lnTo>
                    <a:lnTo>
                      <a:pt x="56487" y="24775"/>
                    </a:lnTo>
                    <a:lnTo>
                      <a:pt x="51804" y="21328"/>
                    </a:lnTo>
                    <a:lnTo>
                      <a:pt x="51804" y="18743"/>
                    </a:lnTo>
                    <a:lnTo>
                      <a:pt x="59414" y="11418"/>
                    </a:lnTo>
                    <a:lnTo>
                      <a:pt x="63219" y="5385"/>
                    </a:lnTo>
                    <a:lnTo>
                      <a:pt x="61463" y="0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144000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58" name="Shape 758"/>
              <p:cNvSpPr/>
              <p:nvPr/>
            </p:nvSpPr>
            <p:spPr>
              <a:xfrm>
                <a:off x="1537340" y="2956376"/>
                <a:ext cx="486235" cy="44435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6779" y="0"/>
                    </a:moveTo>
                    <a:lnTo>
                      <a:pt x="63728" y="10714"/>
                    </a:lnTo>
                    <a:lnTo>
                      <a:pt x="47457" y="22142"/>
                    </a:lnTo>
                    <a:lnTo>
                      <a:pt x="36610" y="33571"/>
                    </a:lnTo>
                    <a:lnTo>
                      <a:pt x="17627" y="36428"/>
                    </a:lnTo>
                    <a:lnTo>
                      <a:pt x="3389" y="38571"/>
                    </a:lnTo>
                    <a:lnTo>
                      <a:pt x="0" y="47142"/>
                    </a:lnTo>
                    <a:lnTo>
                      <a:pt x="23050" y="74285"/>
                    </a:lnTo>
                    <a:lnTo>
                      <a:pt x="30508" y="75000"/>
                    </a:lnTo>
                    <a:lnTo>
                      <a:pt x="40000" y="55714"/>
                    </a:lnTo>
                    <a:lnTo>
                      <a:pt x="42033" y="46428"/>
                    </a:lnTo>
                    <a:lnTo>
                      <a:pt x="65762" y="55714"/>
                    </a:lnTo>
                    <a:lnTo>
                      <a:pt x="77966" y="61428"/>
                    </a:lnTo>
                    <a:lnTo>
                      <a:pt x="84067" y="75000"/>
                    </a:lnTo>
                    <a:lnTo>
                      <a:pt x="87457" y="95714"/>
                    </a:lnTo>
                    <a:lnTo>
                      <a:pt x="98305" y="114285"/>
                    </a:lnTo>
                    <a:lnTo>
                      <a:pt x="103050" y="120000"/>
                    </a:lnTo>
                    <a:lnTo>
                      <a:pt x="111186" y="105000"/>
                    </a:lnTo>
                    <a:lnTo>
                      <a:pt x="119999" y="86428"/>
                    </a:lnTo>
                    <a:lnTo>
                      <a:pt x="119999" y="55714"/>
                    </a:lnTo>
                    <a:lnTo>
                      <a:pt x="113220" y="27857"/>
                    </a:lnTo>
                    <a:lnTo>
                      <a:pt x="96271" y="5714"/>
                    </a:lnTo>
                    <a:lnTo>
                      <a:pt x="86779" y="0"/>
                    </a:lnTo>
                    <a:close/>
                  </a:path>
                </a:pathLst>
              </a:custGeom>
              <a:solidFill>
                <a:srgbClr val="7F7F7F"/>
              </a:solidFill>
              <a:ln w="1905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799" dist="38100" dir="2700000" algn="tl" rotWithShape="0">
                  <a:srgbClr val="000000">
                    <a:alpha val="40000"/>
                  </a:srgbClr>
                </a:outerShdw>
              </a:effectLst>
            </p:spPr>
            <p:txBody>
              <a:bodyPr lIns="91425" tIns="45700" rIns="91425" bIns="45700" anchor="ctr" anchorCtr="1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</p:grpSp>
        <p:sp>
          <p:nvSpPr>
            <p:cNvPr id="761" name="Shape 761"/>
            <p:cNvSpPr/>
            <p:nvPr/>
          </p:nvSpPr>
          <p:spPr>
            <a:xfrm>
              <a:off x="1833786" y="4001687"/>
              <a:ext cx="200958" cy="179209"/>
            </a:xfrm>
            <a:prstGeom prst="ellipse">
              <a:avLst/>
            </a:prstGeom>
            <a:solidFill>
              <a:srgbClr val="BF95DF"/>
            </a:soli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762" name="Shape 762"/>
            <p:cNvSpPr/>
            <p:nvPr/>
          </p:nvSpPr>
          <p:spPr>
            <a:xfrm>
              <a:off x="1883776" y="4046267"/>
              <a:ext cx="100979" cy="90049"/>
            </a:xfrm>
            <a:prstGeom prst="ellipse">
              <a:avLst/>
            </a:prstGeom>
            <a:solidFill>
              <a:srgbClr val="BF95DF"/>
            </a:solidFill>
            <a:ln w="15875" cap="rnd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763" name="Shape 763"/>
            <p:cNvSpPr txBox="1"/>
            <p:nvPr/>
          </p:nvSpPr>
          <p:spPr>
            <a:xfrm>
              <a:off x="1959722" y="3644978"/>
              <a:ext cx="1374225" cy="276997"/>
            </a:xfrm>
            <a:prstGeom prst="rect">
              <a:avLst/>
            </a:prstGeom>
            <a:solidFill>
              <a:srgbClr val="BF95D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1200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Ziguinchor</a:t>
              </a:r>
            </a:p>
          </p:txBody>
        </p:sp>
      </p:grpSp>
      <p:sp>
        <p:nvSpPr>
          <p:cNvPr id="764" name="Shape 764"/>
          <p:cNvSpPr/>
          <p:nvPr/>
        </p:nvSpPr>
        <p:spPr>
          <a:xfrm>
            <a:off x="4366717" y="238820"/>
            <a:ext cx="441024" cy="465679"/>
          </a:xfrm>
          <a:prstGeom prst="ellipse">
            <a:avLst/>
          </a:prstGeom>
          <a:solidFill>
            <a:srgbClr val="BF95DF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65" name="Shape 765"/>
          <p:cNvSpPr/>
          <p:nvPr/>
        </p:nvSpPr>
        <p:spPr>
          <a:xfrm>
            <a:off x="4476424" y="354659"/>
            <a:ext cx="221609" cy="233998"/>
          </a:xfrm>
          <a:prstGeom prst="ellipse">
            <a:avLst/>
          </a:prstGeom>
          <a:solidFill>
            <a:srgbClr val="BF95DF"/>
          </a:solidFill>
          <a:ln w="15875" cap="rnd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66" name="Shape 766"/>
          <p:cNvSpPr/>
          <p:nvPr/>
        </p:nvSpPr>
        <p:spPr>
          <a:xfrm>
            <a:off x="4917449" y="173523"/>
            <a:ext cx="6988802" cy="556796"/>
          </a:xfrm>
          <a:prstGeom prst="roundRect">
            <a:avLst>
              <a:gd name="adj" fmla="val 13209"/>
            </a:avLst>
          </a:prstGeom>
          <a:solidFill>
            <a:srgbClr val="BF95DF"/>
          </a:solidFill>
          <a:ln w="15875" cap="rnd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799" dist="38100" dir="2700000" algn="tl" rotWithShape="0">
              <a:srgbClr val="000000">
                <a:alpha val="40000"/>
              </a:srgbClr>
            </a:outerShdw>
          </a:effectLst>
        </p:spPr>
        <p:txBody>
          <a:bodyPr lIns="5486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fr-CA" sz="2000" b="1" cap="small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Ziguinchor</a:t>
            </a:r>
          </a:p>
        </p:txBody>
      </p:sp>
      <p:pic>
        <p:nvPicPr>
          <p:cNvPr id="767" name="Shape 76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44746" y="5071620"/>
            <a:ext cx="1165971" cy="939145"/>
          </a:xfrm>
          <a:prstGeom prst="rect">
            <a:avLst/>
          </a:prstGeom>
          <a:noFill/>
          <a:ln>
            <a:noFill/>
          </a:ln>
        </p:spPr>
      </p:pic>
      <p:pic>
        <p:nvPicPr>
          <p:cNvPr id="768" name="Shape 76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38763" y="5071620"/>
            <a:ext cx="1045372" cy="939145"/>
          </a:xfrm>
          <a:prstGeom prst="rect">
            <a:avLst/>
          </a:prstGeom>
          <a:noFill/>
          <a:ln>
            <a:noFill/>
          </a:ln>
        </p:spPr>
      </p:pic>
      <p:pic>
        <p:nvPicPr>
          <p:cNvPr id="770" name="Shape 770" descr="Résultat de recherche d'images pour &quot;casamance vegetation&quot;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812181" y="5025822"/>
            <a:ext cx="1036268" cy="97543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Tableau 2"/>
          <p:cNvGraphicFramePr>
            <a:graphicFrameLocks noGrp="1"/>
          </p:cNvGraphicFramePr>
          <p:nvPr>
            <p:extLst/>
          </p:nvPr>
        </p:nvGraphicFramePr>
        <p:xfrm>
          <a:off x="60242" y="6104503"/>
          <a:ext cx="490537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05375"/>
              </a:tblGrid>
              <a:tr h="370840">
                <a:tc>
                  <a:txBody>
                    <a:bodyPr/>
                    <a:lstStyle/>
                    <a:p>
                      <a:r>
                        <a:rPr lang="fr-CA" dirty="0" smtClean="0">
                          <a:solidFill>
                            <a:schemeClr val="tx1"/>
                          </a:solidFill>
                        </a:rPr>
                        <a:t>Tourisme</a:t>
                      </a:r>
                      <a:r>
                        <a:rPr lang="fr-CA" baseline="0" dirty="0" smtClean="0">
                          <a:solidFill>
                            <a:schemeClr val="tx1"/>
                          </a:solidFill>
                        </a:rPr>
                        <a:t> – Culture – Transport Maritime</a:t>
                      </a:r>
                      <a:endParaRPr lang="fr-CA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1" name="Tableau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3050636"/>
              </p:ext>
            </p:extLst>
          </p:nvPr>
        </p:nvGraphicFramePr>
        <p:xfrm>
          <a:off x="164897" y="4607042"/>
          <a:ext cx="388754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7540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800" b="0" i="0" u="none" strike="noStrike" cap="none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Population : 621</a:t>
                      </a:r>
                      <a:r>
                        <a:rPr lang="fr-CA" sz="1800" b="0" i="0" u="none" strike="noStrike" cap="none" baseline="0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000 </a:t>
                      </a:r>
                      <a:r>
                        <a:rPr lang="fr-CA" sz="1800" b="0" i="0" u="none" strike="noStrike" cap="none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habitant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598456"/>
              </p:ext>
            </p:extLst>
          </p:nvPr>
        </p:nvGraphicFramePr>
        <p:xfrm>
          <a:off x="4393765" y="906391"/>
          <a:ext cx="7410152" cy="8578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060"/>
                <a:gridCol w="4958092"/>
              </a:tblGrid>
              <a:tr h="316230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TURE DE L’AÉRODROME</a:t>
                      </a:r>
                      <a:endParaRPr lang="fr-CA" sz="11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BF95D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dirty="0">
                          <a:effectLst/>
                          <a:latin typeface="Century Gothic" panose="020B0502020202020204" pitchFamily="34" charset="0"/>
                        </a:rPr>
                        <a:t>Type d’aéroport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I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nternational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70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dirty="0">
                          <a:effectLst/>
                          <a:latin typeface="Century Gothic" panose="020B0502020202020204" pitchFamily="34" charset="0"/>
                        </a:rPr>
                        <a:t>Trafic passagers en </a:t>
                      </a: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2016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7621629"/>
              </p:ext>
            </p:extLst>
          </p:nvPr>
        </p:nvGraphicFramePr>
        <p:xfrm>
          <a:off x="4400694" y="2134371"/>
          <a:ext cx="7410151" cy="4670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9631"/>
                <a:gridCol w="2629006"/>
                <a:gridCol w="2771514"/>
              </a:tblGrid>
              <a:tr h="2240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ÉTAT DES LIEUX</a:t>
                      </a:r>
                      <a:endParaRPr lang="fr-CA" sz="11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>
                    <a:solidFill>
                      <a:srgbClr val="BF9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NSISTANCE DES TRAVAUX</a:t>
                      </a:r>
                      <a:endParaRPr lang="fr-CA" sz="11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>
                    <a:solidFill>
                      <a:srgbClr val="BF95DF"/>
                    </a:solidFill>
                  </a:tcPr>
                </a:tc>
              </a:tr>
              <a:tr h="256460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PISTE 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2000 x 30 en bitume 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>
                          <a:effectLst/>
                          <a:latin typeface="Century Gothic" panose="020B0502020202020204" pitchFamily="34" charset="0"/>
                        </a:rPr>
                        <a:t>2700 x 45</a:t>
                      </a:r>
                      <a:endParaRPr lang="fr-CA" sz="11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399471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CLÔTURE DE L’EMPRISE</a:t>
                      </a:r>
                      <a:r>
                        <a:rPr lang="fr-CA" sz="1100" b="1" baseline="0" dirty="0" smtClean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ÉROPORTUAIRE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371475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En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état de dégradation avancé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>
                          <a:effectLst/>
                          <a:latin typeface="Century Gothic" panose="020B0502020202020204" pitchFamily="34" charset="0"/>
                        </a:rPr>
                        <a:t>Reconstruction avec 3 sorties de secours</a:t>
                      </a:r>
                      <a:endParaRPr lang="fr-CA" sz="11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5646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ÉROGARE + SALON VIP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945m2 + 283m2  à réfectionn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ouvelle aérogare 3300m2 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24007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SSLI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iveau 4 sur 6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>
                          <a:effectLst/>
                          <a:latin typeface="Century Gothic" panose="020B0502020202020204" pitchFamily="34" charset="0"/>
                        </a:rPr>
                        <a:t>Niveau 6</a:t>
                      </a:r>
                      <a:endParaRPr lang="fr-CA" sz="11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5646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IRE DE STATIONNEMENT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Dégradé en parti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A réhabilit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5646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ÉQUIPEMENTS DE N/A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VO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>
                          <a:effectLst/>
                          <a:latin typeface="Century Gothic" panose="020B0502020202020204" pitchFamily="34" charset="0"/>
                        </a:rPr>
                        <a:t>ILS + PAPI + Balisage</a:t>
                      </a:r>
                      <a:endParaRPr lang="fr-CA" sz="11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5646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BÂTIMENTS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A réfectionn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Reconstruction et équipement des bâtiment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24007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STATION MÉTÉO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Obsolèt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ouvelle station météo équipé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399471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SSISTANCE AU SOL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Rudimentaire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Équipement des services d’assistance au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sol + véhicules aéroportuaire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399471">
                <a:tc>
                  <a:txBody>
                    <a:bodyPr/>
                    <a:lstStyle/>
                    <a:p>
                      <a:pPr marL="85725" lvl="1" indent="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CENTRALE ÉNERGÉTIQUE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50 </a:t>
                      </a:r>
                      <a:r>
                        <a:rPr lang="fr-CA" sz="110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140 </a:t>
                      </a:r>
                      <a:r>
                        <a:rPr lang="fr-CA" sz="110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r>
                        <a:rPr lang="fr-CA" sz="1100" baseline="0" dirty="0" smtClean="0">
                          <a:effectLst/>
                          <a:latin typeface="Century Gothic" panose="020B0502020202020204" pitchFamily="34" charset="0"/>
                        </a:rPr>
                        <a:t> + 180 </a:t>
                      </a:r>
                      <a:r>
                        <a:rPr lang="fr-CA" sz="1100" baseline="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463544"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ÉPÔT ET FOURNITURE CARBURANT</a:t>
                      </a:r>
                      <a:endParaRPr lang="fr-CA" sz="1100" b="1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éant</a:t>
                      </a: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8</a:t>
                      </a:r>
                      <a:r>
                        <a:rPr lang="fr-CA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 de 100LL + 39t de Jet A1</a:t>
                      </a:r>
                      <a:endParaRPr lang="fr-CA" sz="1100" kern="1200" dirty="0" smtClean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273866"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OBJECTIF </a:t>
                      </a: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Versement de la gestion technique de l’aérodrome à l’ASECNA</a:t>
                      </a: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547732">
                <a:tc>
                  <a:txBody>
                    <a:bodyPr/>
                    <a:lstStyle/>
                    <a:p>
                      <a:pPr marL="0" indent="85725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OÛT ESTIMÉ</a:t>
                      </a:r>
                      <a:endParaRPr lang="fr-CA" sz="1100" b="1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400" b="1" kern="1200" baseline="0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6 000 000 000 F CFA</a:t>
                      </a:r>
                      <a:endParaRPr lang="fr-CA" sz="1400" b="1" kern="1200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pic>
        <p:nvPicPr>
          <p:cNvPr id="34" name="Shape 806"/>
          <p:cNvPicPr preferRelativeResize="0"/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21881" y="-30392"/>
            <a:ext cx="1030643" cy="7607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3063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5" name="Shape 775"/>
          <p:cNvGrpSpPr/>
          <p:nvPr/>
        </p:nvGrpSpPr>
        <p:grpSpPr>
          <a:xfrm>
            <a:off x="0" y="1124464"/>
            <a:ext cx="4128380" cy="2877168"/>
            <a:chOff x="828782" y="1032186"/>
            <a:chExt cx="6465603" cy="5127995"/>
          </a:xfrm>
        </p:grpSpPr>
        <p:grpSp>
          <p:nvGrpSpPr>
            <p:cNvPr id="776" name="Shape 776"/>
            <p:cNvGrpSpPr/>
            <p:nvPr/>
          </p:nvGrpSpPr>
          <p:grpSpPr>
            <a:xfrm>
              <a:off x="828782" y="1032186"/>
              <a:ext cx="6465603" cy="5127995"/>
              <a:chOff x="849596" y="1025155"/>
              <a:chExt cx="5866523" cy="4406062"/>
            </a:xfrm>
          </p:grpSpPr>
          <p:grpSp>
            <p:nvGrpSpPr>
              <p:cNvPr id="777" name="Shape 777"/>
              <p:cNvGrpSpPr/>
              <p:nvPr/>
            </p:nvGrpSpPr>
            <p:grpSpPr>
              <a:xfrm>
                <a:off x="849596" y="1025155"/>
                <a:ext cx="5866523" cy="4406062"/>
                <a:chOff x="1537340" y="1223262"/>
                <a:chExt cx="5973634" cy="4486512"/>
              </a:xfrm>
            </p:grpSpPr>
            <p:sp>
              <p:nvSpPr>
                <p:cNvPr id="778" name="Shape 778"/>
                <p:cNvSpPr/>
                <p:nvPr/>
              </p:nvSpPr>
              <p:spPr>
                <a:xfrm>
                  <a:off x="2614939" y="1223262"/>
                  <a:ext cx="2692139" cy="95218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714" y="102000"/>
                      </a:moveTo>
                      <a:lnTo>
                        <a:pt x="9795" y="103333"/>
                      </a:lnTo>
                      <a:lnTo>
                        <a:pt x="13959" y="102666"/>
                      </a:lnTo>
                      <a:lnTo>
                        <a:pt x="17632" y="89333"/>
                      </a:lnTo>
                      <a:lnTo>
                        <a:pt x="21551" y="81333"/>
                      </a:lnTo>
                      <a:lnTo>
                        <a:pt x="24979" y="68000"/>
                      </a:lnTo>
                      <a:lnTo>
                        <a:pt x="30122" y="62000"/>
                      </a:lnTo>
                      <a:lnTo>
                        <a:pt x="34775" y="61333"/>
                      </a:lnTo>
                      <a:lnTo>
                        <a:pt x="36734" y="58000"/>
                      </a:lnTo>
                      <a:lnTo>
                        <a:pt x="42122" y="78000"/>
                      </a:lnTo>
                      <a:lnTo>
                        <a:pt x="43591" y="80666"/>
                      </a:lnTo>
                      <a:lnTo>
                        <a:pt x="55836" y="76000"/>
                      </a:lnTo>
                      <a:lnTo>
                        <a:pt x="68326" y="76666"/>
                      </a:lnTo>
                      <a:lnTo>
                        <a:pt x="75183" y="80000"/>
                      </a:lnTo>
                      <a:lnTo>
                        <a:pt x="78612" y="87333"/>
                      </a:lnTo>
                      <a:lnTo>
                        <a:pt x="86448" y="84000"/>
                      </a:lnTo>
                      <a:lnTo>
                        <a:pt x="88897" y="92666"/>
                      </a:lnTo>
                      <a:lnTo>
                        <a:pt x="90612" y="120000"/>
                      </a:lnTo>
                      <a:lnTo>
                        <a:pt x="108979" y="81333"/>
                      </a:lnTo>
                      <a:lnTo>
                        <a:pt x="120000" y="61333"/>
                      </a:lnTo>
                      <a:lnTo>
                        <a:pt x="117795" y="50000"/>
                      </a:lnTo>
                      <a:lnTo>
                        <a:pt x="115102" y="52000"/>
                      </a:lnTo>
                      <a:lnTo>
                        <a:pt x="112163" y="48666"/>
                      </a:lnTo>
                      <a:lnTo>
                        <a:pt x="112408" y="41333"/>
                      </a:lnTo>
                      <a:lnTo>
                        <a:pt x="109959" y="34666"/>
                      </a:lnTo>
                      <a:lnTo>
                        <a:pt x="105061" y="24666"/>
                      </a:lnTo>
                      <a:lnTo>
                        <a:pt x="103591" y="22000"/>
                      </a:lnTo>
                      <a:lnTo>
                        <a:pt x="102122" y="16000"/>
                      </a:lnTo>
                      <a:lnTo>
                        <a:pt x="100653" y="20000"/>
                      </a:lnTo>
                      <a:lnTo>
                        <a:pt x="98938" y="13333"/>
                      </a:lnTo>
                      <a:lnTo>
                        <a:pt x="96489" y="12666"/>
                      </a:lnTo>
                      <a:lnTo>
                        <a:pt x="91836" y="8666"/>
                      </a:lnTo>
                      <a:lnTo>
                        <a:pt x="89142" y="10666"/>
                      </a:lnTo>
                      <a:lnTo>
                        <a:pt x="82285" y="8000"/>
                      </a:lnTo>
                      <a:lnTo>
                        <a:pt x="74448" y="4000"/>
                      </a:lnTo>
                      <a:lnTo>
                        <a:pt x="71510" y="1333"/>
                      </a:lnTo>
                      <a:lnTo>
                        <a:pt x="69306" y="0"/>
                      </a:lnTo>
                      <a:lnTo>
                        <a:pt x="68081" y="5333"/>
                      </a:lnTo>
                      <a:lnTo>
                        <a:pt x="63918" y="6000"/>
                      </a:lnTo>
                      <a:lnTo>
                        <a:pt x="63918" y="11333"/>
                      </a:lnTo>
                      <a:lnTo>
                        <a:pt x="61959" y="10000"/>
                      </a:lnTo>
                      <a:lnTo>
                        <a:pt x="58040" y="10000"/>
                      </a:lnTo>
                      <a:lnTo>
                        <a:pt x="55836" y="11333"/>
                      </a:lnTo>
                      <a:lnTo>
                        <a:pt x="51428" y="18000"/>
                      </a:lnTo>
                      <a:lnTo>
                        <a:pt x="48489" y="13333"/>
                      </a:lnTo>
                      <a:lnTo>
                        <a:pt x="46285" y="13333"/>
                      </a:lnTo>
                      <a:lnTo>
                        <a:pt x="42367" y="18000"/>
                      </a:lnTo>
                      <a:lnTo>
                        <a:pt x="39673" y="23333"/>
                      </a:lnTo>
                      <a:lnTo>
                        <a:pt x="35510" y="20000"/>
                      </a:lnTo>
                      <a:lnTo>
                        <a:pt x="32816" y="18000"/>
                      </a:lnTo>
                      <a:lnTo>
                        <a:pt x="30857" y="18000"/>
                      </a:lnTo>
                      <a:lnTo>
                        <a:pt x="28163" y="17333"/>
                      </a:lnTo>
                      <a:lnTo>
                        <a:pt x="25714" y="19333"/>
                      </a:lnTo>
                      <a:lnTo>
                        <a:pt x="24734" y="16000"/>
                      </a:lnTo>
                      <a:lnTo>
                        <a:pt x="24000" y="10000"/>
                      </a:lnTo>
                      <a:lnTo>
                        <a:pt x="20326" y="12000"/>
                      </a:lnTo>
                      <a:lnTo>
                        <a:pt x="18367" y="13333"/>
                      </a:lnTo>
                      <a:lnTo>
                        <a:pt x="15673" y="16000"/>
                      </a:lnTo>
                      <a:lnTo>
                        <a:pt x="15673" y="22000"/>
                      </a:lnTo>
                      <a:lnTo>
                        <a:pt x="12244" y="32666"/>
                      </a:lnTo>
                      <a:lnTo>
                        <a:pt x="10285" y="38666"/>
                      </a:lnTo>
                      <a:lnTo>
                        <a:pt x="7346" y="43333"/>
                      </a:lnTo>
                      <a:lnTo>
                        <a:pt x="7102" y="50000"/>
                      </a:lnTo>
                      <a:lnTo>
                        <a:pt x="7102" y="57333"/>
                      </a:lnTo>
                      <a:lnTo>
                        <a:pt x="6122" y="61333"/>
                      </a:lnTo>
                      <a:lnTo>
                        <a:pt x="3428" y="65333"/>
                      </a:lnTo>
                      <a:lnTo>
                        <a:pt x="1469" y="68666"/>
                      </a:lnTo>
                      <a:lnTo>
                        <a:pt x="0" y="74000"/>
                      </a:lnTo>
                      <a:lnTo>
                        <a:pt x="244" y="88666"/>
                      </a:lnTo>
                      <a:lnTo>
                        <a:pt x="1959" y="80000"/>
                      </a:lnTo>
                      <a:lnTo>
                        <a:pt x="3183" y="74666"/>
                      </a:lnTo>
                      <a:lnTo>
                        <a:pt x="3183" y="84666"/>
                      </a:lnTo>
                      <a:lnTo>
                        <a:pt x="1714" y="88000"/>
                      </a:lnTo>
                      <a:lnTo>
                        <a:pt x="2448" y="94000"/>
                      </a:lnTo>
                      <a:lnTo>
                        <a:pt x="1714" y="10200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79" name="Shape 779"/>
                <p:cNvSpPr/>
                <p:nvPr/>
              </p:nvSpPr>
              <p:spPr>
                <a:xfrm>
                  <a:off x="2372450" y="1668290"/>
                  <a:ext cx="2477862" cy="16081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5055" y="48947"/>
                      </a:moveTo>
                      <a:lnTo>
                        <a:pt x="8248" y="41052"/>
                      </a:lnTo>
                      <a:lnTo>
                        <a:pt x="9312" y="36315"/>
                      </a:lnTo>
                      <a:lnTo>
                        <a:pt x="13569" y="25657"/>
                      </a:lnTo>
                      <a:lnTo>
                        <a:pt x="27937" y="26447"/>
                      </a:lnTo>
                      <a:lnTo>
                        <a:pt x="30066" y="20526"/>
                      </a:lnTo>
                      <a:lnTo>
                        <a:pt x="35121" y="14605"/>
                      </a:lnTo>
                      <a:lnTo>
                        <a:pt x="39113" y="7500"/>
                      </a:lnTo>
                      <a:lnTo>
                        <a:pt x="42572" y="2763"/>
                      </a:lnTo>
                      <a:lnTo>
                        <a:pt x="48159" y="2368"/>
                      </a:lnTo>
                      <a:lnTo>
                        <a:pt x="51618" y="0"/>
                      </a:lnTo>
                      <a:lnTo>
                        <a:pt x="57738" y="11447"/>
                      </a:lnTo>
                      <a:lnTo>
                        <a:pt x="61197" y="12631"/>
                      </a:lnTo>
                      <a:lnTo>
                        <a:pt x="77427" y="9868"/>
                      </a:lnTo>
                      <a:lnTo>
                        <a:pt x="93126" y="11842"/>
                      </a:lnTo>
                      <a:lnTo>
                        <a:pt x="97383" y="17368"/>
                      </a:lnTo>
                      <a:lnTo>
                        <a:pt x="105365" y="15000"/>
                      </a:lnTo>
                      <a:lnTo>
                        <a:pt x="108292" y="18947"/>
                      </a:lnTo>
                      <a:lnTo>
                        <a:pt x="110155" y="35131"/>
                      </a:lnTo>
                      <a:lnTo>
                        <a:pt x="111219" y="48157"/>
                      </a:lnTo>
                      <a:lnTo>
                        <a:pt x="108558" y="53684"/>
                      </a:lnTo>
                      <a:lnTo>
                        <a:pt x="105898" y="56052"/>
                      </a:lnTo>
                      <a:lnTo>
                        <a:pt x="103769" y="65921"/>
                      </a:lnTo>
                      <a:lnTo>
                        <a:pt x="102172" y="78947"/>
                      </a:lnTo>
                      <a:lnTo>
                        <a:pt x="104301" y="83684"/>
                      </a:lnTo>
                      <a:lnTo>
                        <a:pt x="108026" y="84078"/>
                      </a:lnTo>
                      <a:lnTo>
                        <a:pt x="112815" y="88026"/>
                      </a:lnTo>
                      <a:lnTo>
                        <a:pt x="118137" y="93947"/>
                      </a:lnTo>
                      <a:lnTo>
                        <a:pt x="120000" y="99078"/>
                      </a:lnTo>
                      <a:lnTo>
                        <a:pt x="114944" y="105394"/>
                      </a:lnTo>
                      <a:lnTo>
                        <a:pt x="110953" y="112500"/>
                      </a:lnTo>
                      <a:lnTo>
                        <a:pt x="107228" y="118421"/>
                      </a:lnTo>
                      <a:lnTo>
                        <a:pt x="103769" y="120000"/>
                      </a:lnTo>
                      <a:lnTo>
                        <a:pt x="101906" y="117236"/>
                      </a:lnTo>
                      <a:lnTo>
                        <a:pt x="98181" y="115657"/>
                      </a:lnTo>
                      <a:lnTo>
                        <a:pt x="92328" y="114473"/>
                      </a:lnTo>
                      <a:lnTo>
                        <a:pt x="88070" y="114473"/>
                      </a:lnTo>
                      <a:lnTo>
                        <a:pt x="84345" y="109736"/>
                      </a:lnTo>
                      <a:lnTo>
                        <a:pt x="82483" y="106973"/>
                      </a:lnTo>
                      <a:lnTo>
                        <a:pt x="80620" y="108157"/>
                      </a:lnTo>
                      <a:lnTo>
                        <a:pt x="77427" y="112500"/>
                      </a:lnTo>
                      <a:lnTo>
                        <a:pt x="72904" y="117236"/>
                      </a:lnTo>
                      <a:lnTo>
                        <a:pt x="66518" y="112500"/>
                      </a:lnTo>
                      <a:lnTo>
                        <a:pt x="62261" y="106578"/>
                      </a:lnTo>
                      <a:lnTo>
                        <a:pt x="61729" y="101842"/>
                      </a:lnTo>
                      <a:lnTo>
                        <a:pt x="61463" y="98289"/>
                      </a:lnTo>
                      <a:lnTo>
                        <a:pt x="59068" y="98684"/>
                      </a:lnTo>
                      <a:lnTo>
                        <a:pt x="57472" y="99473"/>
                      </a:lnTo>
                      <a:lnTo>
                        <a:pt x="55343" y="96315"/>
                      </a:lnTo>
                      <a:lnTo>
                        <a:pt x="52150" y="96315"/>
                      </a:lnTo>
                      <a:lnTo>
                        <a:pt x="50022" y="98289"/>
                      </a:lnTo>
                      <a:lnTo>
                        <a:pt x="44700" y="96710"/>
                      </a:lnTo>
                      <a:lnTo>
                        <a:pt x="36984" y="95131"/>
                      </a:lnTo>
                      <a:lnTo>
                        <a:pt x="31396" y="94342"/>
                      </a:lnTo>
                      <a:lnTo>
                        <a:pt x="31130" y="88026"/>
                      </a:lnTo>
                      <a:lnTo>
                        <a:pt x="31396" y="77368"/>
                      </a:lnTo>
                      <a:lnTo>
                        <a:pt x="29534" y="75789"/>
                      </a:lnTo>
                      <a:lnTo>
                        <a:pt x="26341" y="72631"/>
                      </a:lnTo>
                      <a:lnTo>
                        <a:pt x="23680" y="69868"/>
                      </a:lnTo>
                      <a:lnTo>
                        <a:pt x="22084" y="64736"/>
                      </a:lnTo>
                      <a:lnTo>
                        <a:pt x="21019" y="60789"/>
                      </a:lnTo>
                      <a:lnTo>
                        <a:pt x="18093" y="65131"/>
                      </a:lnTo>
                      <a:lnTo>
                        <a:pt x="14634" y="68684"/>
                      </a:lnTo>
                      <a:lnTo>
                        <a:pt x="10643" y="75000"/>
                      </a:lnTo>
                      <a:lnTo>
                        <a:pt x="8514" y="76578"/>
                      </a:lnTo>
                      <a:lnTo>
                        <a:pt x="1862" y="70657"/>
                      </a:lnTo>
                      <a:lnTo>
                        <a:pt x="0" y="68289"/>
                      </a:lnTo>
                      <a:lnTo>
                        <a:pt x="5853" y="54473"/>
                      </a:lnTo>
                      <a:lnTo>
                        <a:pt x="5055" y="48947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80" name="Shape 780"/>
                <p:cNvSpPr/>
                <p:nvPr/>
              </p:nvSpPr>
              <p:spPr>
                <a:xfrm>
                  <a:off x="4467214" y="1662998"/>
                  <a:ext cx="1889989" cy="19361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0465" y="30163"/>
                      </a:moveTo>
                      <a:lnTo>
                        <a:pt x="53023" y="1967"/>
                      </a:lnTo>
                      <a:lnTo>
                        <a:pt x="55813" y="1967"/>
                      </a:lnTo>
                      <a:lnTo>
                        <a:pt x="58953" y="0"/>
                      </a:lnTo>
                      <a:lnTo>
                        <a:pt x="63837" y="1639"/>
                      </a:lnTo>
                      <a:lnTo>
                        <a:pt x="68023" y="655"/>
                      </a:lnTo>
                      <a:lnTo>
                        <a:pt x="73255" y="3278"/>
                      </a:lnTo>
                      <a:lnTo>
                        <a:pt x="73604" y="6229"/>
                      </a:lnTo>
                      <a:lnTo>
                        <a:pt x="78837" y="7868"/>
                      </a:lnTo>
                      <a:lnTo>
                        <a:pt x="82674" y="12786"/>
                      </a:lnTo>
                      <a:lnTo>
                        <a:pt x="83023" y="18360"/>
                      </a:lnTo>
                      <a:lnTo>
                        <a:pt x="84767" y="22950"/>
                      </a:lnTo>
                      <a:lnTo>
                        <a:pt x="85465" y="27540"/>
                      </a:lnTo>
                      <a:lnTo>
                        <a:pt x="86860" y="31147"/>
                      </a:lnTo>
                      <a:lnTo>
                        <a:pt x="87906" y="36721"/>
                      </a:lnTo>
                      <a:lnTo>
                        <a:pt x="90697" y="39016"/>
                      </a:lnTo>
                      <a:lnTo>
                        <a:pt x="93488" y="40327"/>
                      </a:lnTo>
                      <a:lnTo>
                        <a:pt x="94186" y="43934"/>
                      </a:lnTo>
                      <a:lnTo>
                        <a:pt x="94186" y="46885"/>
                      </a:lnTo>
                      <a:lnTo>
                        <a:pt x="104302" y="45901"/>
                      </a:lnTo>
                      <a:lnTo>
                        <a:pt x="105697" y="52786"/>
                      </a:lnTo>
                      <a:lnTo>
                        <a:pt x="103953" y="56065"/>
                      </a:lnTo>
                      <a:lnTo>
                        <a:pt x="105000" y="59672"/>
                      </a:lnTo>
                      <a:lnTo>
                        <a:pt x="108488" y="62622"/>
                      </a:lnTo>
                      <a:lnTo>
                        <a:pt x="109883" y="65901"/>
                      </a:lnTo>
                      <a:lnTo>
                        <a:pt x="112674" y="69180"/>
                      </a:lnTo>
                      <a:lnTo>
                        <a:pt x="118604" y="72786"/>
                      </a:lnTo>
                      <a:lnTo>
                        <a:pt x="117209" y="75737"/>
                      </a:lnTo>
                      <a:lnTo>
                        <a:pt x="117558" y="83606"/>
                      </a:lnTo>
                      <a:lnTo>
                        <a:pt x="120000" y="88196"/>
                      </a:lnTo>
                      <a:lnTo>
                        <a:pt x="119651" y="91803"/>
                      </a:lnTo>
                      <a:lnTo>
                        <a:pt x="114069" y="99672"/>
                      </a:lnTo>
                      <a:lnTo>
                        <a:pt x="106395" y="105573"/>
                      </a:lnTo>
                      <a:lnTo>
                        <a:pt x="102906" y="105245"/>
                      </a:lnTo>
                      <a:lnTo>
                        <a:pt x="88604" y="103278"/>
                      </a:lnTo>
                      <a:lnTo>
                        <a:pt x="85465" y="104590"/>
                      </a:lnTo>
                      <a:lnTo>
                        <a:pt x="78488" y="115081"/>
                      </a:lnTo>
                      <a:lnTo>
                        <a:pt x="75697" y="116721"/>
                      </a:lnTo>
                      <a:lnTo>
                        <a:pt x="69418" y="120000"/>
                      </a:lnTo>
                      <a:lnTo>
                        <a:pt x="56162" y="117049"/>
                      </a:lnTo>
                      <a:lnTo>
                        <a:pt x="44302" y="111475"/>
                      </a:lnTo>
                      <a:lnTo>
                        <a:pt x="35930" y="105901"/>
                      </a:lnTo>
                      <a:lnTo>
                        <a:pt x="23372" y="97704"/>
                      </a:lnTo>
                      <a:lnTo>
                        <a:pt x="16744" y="92459"/>
                      </a:lnTo>
                      <a:lnTo>
                        <a:pt x="13953" y="91147"/>
                      </a:lnTo>
                      <a:lnTo>
                        <a:pt x="24069" y="82950"/>
                      </a:lnTo>
                      <a:lnTo>
                        <a:pt x="20581" y="78688"/>
                      </a:lnTo>
                      <a:lnTo>
                        <a:pt x="15000" y="73770"/>
                      </a:lnTo>
                      <a:lnTo>
                        <a:pt x="6976" y="70163"/>
                      </a:lnTo>
                      <a:lnTo>
                        <a:pt x="1395" y="68852"/>
                      </a:lnTo>
                      <a:lnTo>
                        <a:pt x="348" y="64918"/>
                      </a:lnTo>
                      <a:lnTo>
                        <a:pt x="0" y="60327"/>
                      </a:lnTo>
                      <a:lnTo>
                        <a:pt x="4186" y="46885"/>
                      </a:lnTo>
                      <a:lnTo>
                        <a:pt x="8720" y="44262"/>
                      </a:lnTo>
                      <a:lnTo>
                        <a:pt x="11162" y="40327"/>
                      </a:lnTo>
                      <a:lnTo>
                        <a:pt x="11511" y="35409"/>
                      </a:lnTo>
                      <a:lnTo>
                        <a:pt x="10465" y="30163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81" name="Shape 781"/>
                <p:cNvSpPr/>
                <p:nvPr/>
              </p:nvSpPr>
              <p:spPr>
                <a:xfrm>
                  <a:off x="4004362" y="2832490"/>
                  <a:ext cx="3133010" cy="260220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8842" y="244"/>
                      </a:moveTo>
                      <a:lnTo>
                        <a:pt x="91157" y="0"/>
                      </a:lnTo>
                      <a:lnTo>
                        <a:pt x="96210" y="4163"/>
                      </a:lnTo>
                      <a:lnTo>
                        <a:pt x="98736" y="6857"/>
                      </a:lnTo>
                      <a:lnTo>
                        <a:pt x="100210" y="10285"/>
                      </a:lnTo>
                      <a:lnTo>
                        <a:pt x="103157" y="12734"/>
                      </a:lnTo>
                      <a:lnTo>
                        <a:pt x="105894" y="14938"/>
                      </a:lnTo>
                      <a:lnTo>
                        <a:pt x="108631" y="18612"/>
                      </a:lnTo>
                      <a:lnTo>
                        <a:pt x="109473" y="22775"/>
                      </a:lnTo>
                      <a:lnTo>
                        <a:pt x="107578" y="25959"/>
                      </a:lnTo>
                      <a:lnTo>
                        <a:pt x="106736" y="28897"/>
                      </a:lnTo>
                      <a:lnTo>
                        <a:pt x="108631" y="32081"/>
                      </a:lnTo>
                      <a:lnTo>
                        <a:pt x="110315" y="35265"/>
                      </a:lnTo>
                      <a:lnTo>
                        <a:pt x="112210" y="36000"/>
                      </a:lnTo>
                      <a:lnTo>
                        <a:pt x="113052" y="42857"/>
                      </a:lnTo>
                      <a:lnTo>
                        <a:pt x="113052" y="45061"/>
                      </a:lnTo>
                      <a:lnTo>
                        <a:pt x="110526" y="51673"/>
                      </a:lnTo>
                      <a:lnTo>
                        <a:pt x="110315" y="54612"/>
                      </a:lnTo>
                      <a:lnTo>
                        <a:pt x="111578" y="57795"/>
                      </a:lnTo>
                      <a:lnTo>
                        <a:pt x="113263" y="60000"/>
                      </a:lnTo>
                      <a:lnTo>
                        <a:pt x="113052" y="64408"/>
                      </a:lnTo>
                      <a:lnTo>
                        <a:pt x="109684" y="69306"/>
                      </a:lnTo>
                      <a:lnTo>
                        <a:pt x="108631" y="71510"/>
                      </a:lnTo>
                      <a:lnTo>
                        <a:pt x="110736" y="72734"/>
                      </a:lnTo>
                      <a:lnTo>
                        <a:pt x="113684" y="75673"/>
                      </a:lnTo>
                      <a:lnTo>
                        <a:pt x="113894" y="77877"/>
                      </a:lnTo>
                      <a:lnTo>
                        <a:pt x="119999" y="82775"/>
                      </a:lnTo>
                      <a:cubicBezTo>
                        <a:pt x="119315" y="83448"/>
                        <a:pt x="118631" y="84122"/>
                        <a:pt x="117894" y="84734"/>
                      </a:cubicBezTo>
                      <a:cubicBezTo>
                        <a:pt x="117526" y="85040"/>
                        <a:pt x="116631" y="85469"/>
                        <a:pt x="116631" y="85469"/>
                      </a:cubicBezTo>
                      <a:lnTo>
                        <a:pt x="114105" y="86204"/>
                      </a:lnTo>
                      <a:cubicBezTo>
                        <a:pt x="113421" y="86632"/>
                        <a:pt x="112631" y="86938"/>
                        <a:pt x="112000" y="87428"/>
                      </a:cubicBezTo>
                      <a:cubicBezTo>
                        <a:pt x="111789" y="87612"/>
                        <a:pt x="111578" y="88163"/>
                        <a:pt x="111578" y="88163"/>
                      </a:cubicBezTo>
                      <a:lnTo>
                        <a:pt x="108421" y="85714"/>
                      </a:lnTo>
                      <a:lnTo>
                        <a:pt x="103157" y="82285"/>
                      </a:lnTo>
                      <a:lnTo>
                        <a:pt x="101263" y="81795"/>
                      </a:lnTo>
                      <a:lnTo>
                        <a:pt x="101052" y="84489"/>
                      </a:lnTo>
                      <a:lnTo>
                        <a:pt x="101684" y="86938"/>
                      </a:lnTo>
                      <a:lnTo>
                        <a:pt x="98947" y="88653"/>
                      </a:lnTo>
                      <a:lnTo>
                        <a:pt x="97894" y="91836"/>
                      </a:lnTo>
                      <a:lnTo>
                        <a:pt x="96210" y="89387"/>
                      </a:lnTo>
                      <a:lnTo>
                        <a:pt x="93263" y="89632"/>
                      </a:lnTo>
                      <a:lnTo>
                        <a:pt x="91578" y="93306"/>
                      </a:lnTo>
                      <a:lnTo>
                        <a:pt x="89473" y="94530"/>
                      </a:lnTo>
                      <a:lnTo>
                        <a:pt x="86736" y="94040"/>
                      </a:lnTo>
                      <a:lnTo>
                        <a:pt x="83368" y="95265"/>
                      </a:lnTo>
                      <a:lnTo>
                        <a:pt x="82526" y="97959"/>
                      </a:lnTo>
                      <a:lnTo>
                        <a:pt x="81473" y="99183"/>
                      </a:lnTo>
                      <a:cubicBezTo>
                        <a:pt x="80000" y="100040"/>
                        <a:pt x="77842" y="100775"/>
                        <a:pt x="77052" y="102612"/>
                      </a:cubicBezTo>
                      <a:lnTo>
                        <a:pt x="73894" y="101387"/>
                      </a:lnTo>
                      <a:lnTo>
                        <a:pt x="72631" y="100163"/>
                      </a:lnTo>
                      <a:lnTo>
                        <a:pt x="70315" y="99428"/>
                      </a:lnTo>
                      <a:lnTo>
                        <a:pt x="68631" y="100163"/>
                      </a:lnTo>
                      <a:lnTo>
                        <a:pt x="66315" y="100653"/>
                      </a:lnTo>
                      <a:lnTo>
                        <a:pt x="64631" y="100653"/>
                      </a:lnTo>
                      <a:lnTo>
                        <a:pt x="62315" y="100163"/>
                      </a:lnTo>
                      <a:lnTo>
                        <a:pt x="60210" y="100897"/>
                      </a:lnTo>
                      <a:lnTo>
                        <a:pt x="61473" y="103591"/>
                      </a:lnTo>
                      <a:lnTo>
                        <a:pt x="62947" y="105306"/>
                      </a:lnTo>
                      <a:lnTo>
                        <a:pt x="62736" y="107020"/>
                      </a:lnTo>
                      <a:lnTo>
                        <a:pt x="62315" y="110204"/>
                      </a:lnTo>
                      <a:lnTo>
                        <a:pt x="64631" y="111183"/>
                      </a:lnTo>
                      <a:lnTo>
                        <a:pt x="64842" y="112653"/>
                      </a:lnTo>
                      <a:lnTo>
                        <a:pt x="65052" y="116816"/>
                      </a:lnTo>
                      <a:lnTo>
                        <a:pt x="62315" y="120000"/>
                      </a:lnTo>
                      <a:lnTo>
                        <a:pt x="54736" y="119265"/>
                      </a:lnTo>
                      <a:lnTo>
                        <a:pt x="50105" y="103346"/>
                      </a:lnTo>
                      <a:lnTo>
                        <a:pt x="45263" y="85469"/>
                      </a:lnTo>
                      <a:lnTo>
                        <a:pt x="44842" y="83755"/>
                      </a:lnTo>
                      <a:lnTo>
                        <a:pt x="43578" y="81551"/>
                      </a:lnTo>
                      <a:lnTo>
                        <a:pt x="42736" y="80081"/>
                      </a:lnTo>
                      <a:cubicBezTo>
                        <a:pt x="42736" y="79163"/>
                        <a:pt x="42736" y="78306"/>
                        <a:pt x="42736" y="77387"/>
                      </a:cubicBezTo>
                      <a:cubicBezTo>
                        <a:pt x="40421" y="76040"/>
                        <a:pt x="41421" y="76163"/>
                        <a:pt x="40000" y="76163"/>
                      </a:cubicBezTo>
                      <a:lnTo>
                        <a:pt x="39368" y="73959"/>
                      </a:lnTo>
                      <a:cubicBezTo>
                        <a:pt x="37315" y="75551"/>
                        <a:pt x="37473" y="74571"/>
                        <a:pt x="37473" y="76163"/>
                      </a:cubicBezTo>
                      <a:lnTo>
                        <a:pt x="34315" y="74938"/>
                      </a:lnTo>
                      <a:lnTo>
                        <a:pt x="32631" y="73469"/>
                      </a:lnTo>
                      <a:lnTo>
                        <a:pt x="30315" y="74204"/>
                      </a:lnTo>
                      <a:lnTo>
                        <a:pt x="25684" y="75428"/>
                      </a:lnTo>
                      <a:lnTo>
                        <a:pt x="20631" y="76408"/>
                      </a:lnTo>
                      <a:lnTo>
                        <a:pt x="16842" y="75918"/>
                      </a:lnTo>
                      <a:lnTo>
                        <a:pt x="14105" y="73714"/>
                      </a:lnTo>
                      <a:lnTo>
                        <a:pt x="12210" y="71755"/>
                      </a:lnTo>
                      <a:lnTo>
                        <a:pt x="10526" y="70775"/>
                      </a:lnTo>
                      <a:lnTo>
                        <a:pt x="6526" y="70775"/>
                      </a:lnTo>
                      <a:lnTo>
                        <a:pt x="3578" y="70285"/>
                      </a:lnTo>
                      <a:lnTo>
                        <a:pt x="842" y="67591"/>
                      </a:lnTo>
                      <a:lnTo>
                        <a:pt x="0" y="64897"/>
                      </a:lnTo>
                      <a:lnTo>
                        <a:pt x="1684" y="61959"/>
                      </a:lnTo>
                      <a:lnTo>
                        <a:pt x="5894" y="59510"/>
                      </a:lnTo>
                      <a:lnTo>
                        <a:pt x="9894" y="56571"/>
                      </a:lnTo>
                      <a:lnTo>
                        <a:pt x="13473" y="51183"/>
                      </a:lnTo>
                      <a:lnTo>
                        <a:pt x="15578" y="45061"/>
                      </a:lnTo>
                      <a:lnTo>
                        <a:pt x="15157" y="39673"/>
                      </a:lnTo>
                      <a:lnTo>
                        <a:pt x="16421" y="35510"/>
                      </a:lnTo>
                      <a:lnTo>
                        <a:pt x="17052" y="33795"/>
                      </a:lnTo>
                      <a:lnTo>
                        <a:pt x="15368" y="32816"/>
                      </a:lnTo>
                      <a:lnTo>
                        <a:pt x="15368" y="29877"/>
                      </a:lnTo>
                      <a:lnTo>
                        <a:pt x="15789" y="27428"/>
                      </a:lnTo>
                      <a:lnTo>
                        <a:pt x="15789" y="25224"/>
                      </a:lnTo>
                      <a:lnTo>
                        <a:pt x="15368" y="22040"/>
                      </a:lnTo>
                      <a:lnTo>
                        <a:pt x="18736" y="20326"/>
                      </a:lnTo>
                      <a:lnTo>
                        <a:pt x="21473" y="18367"/>
                      </a:lnTo>
                      <a:lnTo>
                        <a:pt x="26105" y="13224"/>
                      </a:lnTo>
                      <a:lnTo>
                        <a:pt x="30736" y="16897"/>
                      </a:lnTo>
                      <a:lnTo>
                        <a:pt x="38105" y="23755"/>
                      </a:lnTo>
                      <a:lnTo>
                        <a:pt x="48210" y="31346"/>
                      </a:lnTo>
                      <a:lnTo>
                        <a:pt x="53894" y="33306"/>
                      </a:lnTo>
                      <a:lnTo>
                        <a:pt x="59368" y="34775"/>
                      </a:lnTo>
                      <a:lnTo>
                        <a:pt x="64631" y="30857"/>
                      </a:lnTo>
                      <a:lnTo>
                        <a:pt x="67368" y="26204"/>
                      </a:lnTo>
                      <a:lnTo>
                        <a:pt x="69894" y="22775"/>
                      </a:lnTo>
                      <a:lnTo>
                        <a:pt x="72210" y="22530"/>
                      </a:lnTo>
                      <a:lnTo>
                        <a:pt x="77473" y="23510"/>
                      </a:lnTo>
                      <a:lnTo>
                        <a:pt x="82105" y="24000"/>
                      </a:lnTo>
                      <a:lnTo>
                        <a:pt x="84842" y="20816"/>
                      </a:lnTo>
                      <a:lnTo>
                        <a:pt x="88421" y="17142"/>
                      </a:lnTo>
                      <a:lnTo>
                        <a:pt x="90105" y="11755"/>
                      </a:lnTo>
                      <a:lnTo>
                        <a:pt x="88842" y="7346"/>
                      </a:lnTo>
                      <a:lnTo>
                        <a:pt x="88421" y="2693"/>
                      </a:lnTo>
                      <a:lnTo>
                        <a:pt x="88842" y="244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82" name="Shape 782"/>
                <p:cNvSpPr/>
                <p:nvPr/>
              </p:nvSpPr>
              <p:spPr>
                <a:xfrm>
                  <a:off x="5571539" y="4614762"/>
                  <a:ext cx="1939435" cy="109501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93824" y="8115"/>
                      </a:moveTo>
                      <a:lnTo>
                        <a:pt x="95524" y="17391"/>
                      </a:lnTo>
                      <a:lnTo>
                        <a:pt x="102322" y="13913"/>
                      </a:lnTo>
                      <a:lnTo>
                        <a:pt x="102662" y="6376"/>
                      </a:lnTo>
                      <a:lnTo>
                        <a:pt x="105382" y="6956"/>
                      </a:lnTo>
                      <a:lnTo>
                        <a:pt x="108441" y="13913"/>
                      </a:lnTo>
                      <a:lnTo>
                        <a:pt x="110141" y="20289"/>
                      </a:lnTo>
                      <a:lnTo>
                        <a:pt x="111501" y="26086"/>
                      </a:lnTo>
                      <a:lnTo>
                        <a:pt x="111501" y="32463"/>
                      </a:lnTo>
                      <a:lnTo>
                        <a:pt x="116260" y="35942"/>
                      </a:lnTo>
                      <a:lnTo>
                        <a:pt x="117280" y="42898"/>
                      </a:lnTo>
                      <a:lnTo>
                        <a:pt x="115240" y="50434"/>
                      </a:lnTo>
                      <a:lnTo>
                        <a:pt x="118640" y="51014"/>
                      </a:lnTo>
                      <a:lnTo>
                        <a:pt x="120000" y="53913"/>
                      </a:lnTo>
                      <a:lnTo>
                        <a:pt x="117280" y="58550"/>
                      </a:lnTo>
                      <a:lnTo>
                        <a:pt x="117280" y="67826"/>
                      </a:lnTo>
                      <a:lnTo>
                        <a:pt x="118300" y="75942"/>
                      </a:lnTo>
                      <a:lnTo>
                        <a:pt x="117960" y="79420"/>
                      </a:lnTo>
                      <a:lnTo>
                        <a:pt x="115240" y="77681"/>
                      </a:lnTo>
                      <a:lnTo>
                        <a:pt x="114220" y="84637"/>
                      </a:lnTo>
                      <a:lnTo>
                        <a:pt x="114560" y="92753"/>
                      </a:lnTo>
                      <a:lnTo>
                        <a:pt x="114220" y="96811"/>
                      </a:lnTo>
                      <a:lnTo>
                        <a:pt x="111841" y="99130"/>
                      </a:lnTo>
                      <a:lnTo>
                        <a:pt x="114900" y="103768"/>
                      </a:lnTo>
                      <a:lnTo>
                        <a:pt x="117280" y="109565"/>
                      </a:lnTo>
                      <a:lnTo>
                        <a:pt x="113881" y="114202"/>
                      </a:lnTo>
                      <a:lnTo>
                        <a:pt x="110481" y="113043"/>
                      </a:lnTo>
                      <a:lnTo>
                        <a:pt x="96883" y="115362"/>
                      </a:lnTo>
                      <a:lnTo>
                        <a:pt x="84985" y="116521"/>
                      </a:lnTo>
                      <a:lnTo>
                        <a:pt x="75467" y="115362"/>
                      </a:lnTo>
                      <a:lnTo>
                        <a:pt x="71048" y="111304"/>
                      </a:lnTo>
                      <a:lnTo>
                        <a:pt x="62889" y="114202"/>
                      </a:lnTo>
                      <a:lnTo>
                        <a:pt x="57790" y="119420"/>
                      </a:lnTo>
                      <a:lnTo>
                        <a:pt x="48611" y="120000"/>
                      </a:lnTo>
                      <a:lnTo>
                        <a:pt x="37733" y="115942"/>
                      </a:lnTo>
                      <a:lnTo>
                        <a:pt x="29235" y="111304"/>
                      </a:lnTo>
                      <a:lnTo>
                        <a:pt x="22096" y="103768"/>
                      </a:lnTo>
                      <a:lnTo>
                        <a:pt x="18356" y="107826"/>
                      </a:lnTo>
                      <a:lnTo>
                        <a:pt x="13597" y="110144"/>
                      </a:lnTo>
                      <a:lnTo>
                        <a:pt x="9518" y="106666"/>
                      </a:lnTo>
                      <a:lnTo>
                        <a:pt x="8158" y="97391"/>
                      </a:lnTo>
                      <a:lnTo>
                        <a:pt x="6118" y="93333"/>
                      </a:lnTo>
                      <a:lnTo>
                        <a:pt x="2039" y="88115"/>
                      </a:lnTo>
                      <a:lnTo>
                        <a:pt x="7138" y="82898"/>
                      </a:lnTo>
                      <a:lnTo>
                        <a:pt x="7138" y="69565"/>
                      </a:lnTo>
                      <a:lnTo>
                        <a:pt x="4079" y="66086"/>
                      </a:lnTo>
                      <a:lnTo>
                        <a:pt x="4419" y="56231"/>
                      </a:lnTo>
                      <a:lnTo>
                        <a:pt x="0" y="43478"/>
                      </a:lnTo>
                      <a:lnTo>
                        <a:pt x="6118" y="44057"/>
                      </a:lnTo>
                      <a:lnTo>
                        <a:pt x="11218" y="43478"/>
                      </a:lnTo>
                      <a:lnTo>
                        <a:pt x="17337" y="40000"/>
                      </a:lnTo>
                      <a:lnTo>
                        <a:pt x="25495" y="47536"/>
                      </a:lnTo>
                      <a:lnTo>
                        <a:pt x="27875" y="49855"/>
                      </a:lnTo>
                      <a:lnTo>
                        <a:pt x="30254" y="42898"/>
                      </a:lnTo>
                      <a:lnTo>
                        <a:pt x="35354" y="39420"/>
                      </a:lnTo>
                      <a:lnTo>
                        <a:pt x="38413" y="29565"/>
                      </a:lnTo>
                      <a:lnTo>
                        <a:pt x="43172" y="29565"/>
                      </a:lnTo>
                      <a:lnTo>
                        <a:pt x="46912" y="28985"/>
                      </a:lnTo>
                      <a:lnTo>
                        <a:pt x="49631" y="26086"/>
                      </a:lnTo>
                      <a:lnTo>
                        <a:pt x="53371" y="17971"/>
                      </a:lnTo>
                      <a:lnTo>
                        <a:pt x="58130" y="17391"/>
                      </a:lnTo>
                      <a:lnTo>
                        <a:pt x="61189" y="20869"/>
                      </a:lnTo>
                      <a:lnTo>
                        <a:pt x="64249" y="12173"/>
                      </a:lnTo>
                      <a:lnTo>
                        <a:pt x="66628" y="11594"/>
                      </a:lnTo>
                      <a:lnTo>
                        <a:pt x="66288" y="0"/>
                      </a:lnTo>
                      <a:lnTo>
                        <a:pt x="68668" y="0"/>
                      </a:lnTo>
                      <a:lnTo>
                        <a:pt x="75467" y="6956"/>
                      </a:lnTo>
                      <a:lnTo>
                        <a:pt x="82606" y="14492"/>
                      </a:lnTo>
                      <a:lnTo>
                        <a:pt x="85325" y="9855"/>
                      </a:lnTo>
                      <a:lnTo>
                        <a:pt x="93824" y="8115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83" name="Shape 783"/>
                <p:cNvSpPr/>
                <p:nvPr/>
              </p:nvSpPr>
              <p:spPr>
                <a:xfrm>
                  <a:off x="3548201" y="4408458"/>
                  <a:ext cx="1889989" cy="100508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20000" y="120000"/>
                      </a:moveTo>
                      <a:lnTo>
                        <a:pt x="79883" y="118736"/>
                      </a:lnTo>
                      <a:lnTo>
                        <a:pt x="28255" y="116210"/>
                      </a:lnTo>
                      <a:lnTo>
                        <a:pt x="15348" y="114315"/>
                      </a:lnTo>
                      <a:lnTo>
                        <a:pt x="9069" y="114315"/>
                      </a:lnTo>
                      <a:lnTo>
                        <a:pt x="11511" y="104210"/>
                      </a:lnTo>
                      <a:lnTo>
                        <a:pt x="12558" y="94736"/>
                      </a:lnTo>
                      <a:lnTo>
                        <a:pt x="13604" y="90947"/>
                      </a:lnTo>
                      <a:lnTo>
                        <a:pt x="13604" y="85263"/>
                      </a:lnTo>
                      <a:lnTo>
                        <a:pt x="11162" y="80842"/>
                      </a:lnTo>
                      <a:lnTo>
                        <a:pt x="10813" y="76421"/>
                      </a:lnTo>
                      <a:lnTo>
                        <a:pt x="10465" y="72000"/>
                      </a:lnTo>
                      <a:lnTo>
                        <a:pt x="6976" y="66947"/>
                      </a:lnTo>
                      <a:lnTo>
                        <a:pt x="6976" y="60000"/>
                      </a:lnTo>
                      <a:lnTo>
                        <a:pt x="5930" y="55578"/>
                      </a:lnTo>
                      <a:lnTo>
                        <a:pt x="5232" y="49263"/>
                      </a:lnTo>
                      <a:lnTo>
                        <a:pt x="2790" y="47368"/>
                      </a:lnTo>
                      <a:lnTo>
                        <a:pt x="0" y="42315"/>
                      </a:lnTo>
                      <a:lnTo>
                        <a:pt x="0" y="37894"/>
                      </a:lnTo>
                      <a:lnTo>
                        <a:pt x="1046" y="34105"/>
                      </a:lnTo>
                      <a:lnTo>
                        <a:pt x="697" y="25894"/>
                      </a:lnTo>
                      <a:lnTo>
                        <a:pt x="697" y="20210"/>
                      </a:lnTo>
                      <a:lnTo>
                        <a:pt x="5232" y="18947"/>
                      </a:lnTo>
                      <a:lnTo>
                        <a:pt x="9767" y="14526"/>
                      </a:lnTo>
                      <a:lnTo>
                        <a:pt x="10813" y="6315"/>
                      </a:lnTo>
                      <a:lnTo>
                        <a:pt x="12558" y="1894"/>
                      </a:lnTo>
                      <a:lnTo>
                        <a:pt x="16744" y="0"/>
                      </a:lnTo>
                      <a:lnTo>
                        <a:pt x="18837" y="6315"/>
                      </a:lnTo>
                      <a:lnTo>
                        <a:pt x="19883" y="13263"/>
                      </a:lnTo>
                      <a:lnTo>
                        <a:pt x="23023" y="15157"/>
                      </a:lnTo>
                      <a:lnTo>
                        <a:pt x="28604" y="18947"/>
                      </a:lnTo>
                      <a:lnTo>
                        <a:pt x="35581" y="20842"/>
                      </a:lnTo>
                      <a:lnTo>
                        <a:pt x="40116" y="22105"/>
                      </a:lnTo>
                      <a:lnTo>
                        <a:pt x="45348" y="23368"/>
                      </a:lnTo>
                      <a:lnTo>
                        <a:pt x="50232" y="30947"/>
                      </a:lnTo>
                      <a:lnTo>
                        <a:pt x="54418" y="34736"/>
                      </a:lnTo>
                      <a:lnTo>
                        <a:pt x="58604" y="36000"/>
                      </a:lnTo>
                      <a:lnTo>
                        <a:pt x="65581" y="36631"/>
                      </a:lnTo>
                      <a:lnTo>
                        <a:pt x="73255" y="34736"/>
                      </a:lnTo>
                      <a:lnTo>
                        <a:pt x="80930" y="30315"/>
                      </a:lnTo>
                      <a:lnTo>
                        <a:pt x="85116" y="23368"/>
                      </a:lnTo>
                      <a:lnTo>
                        <a:pt x="89302" y="22736"/>
                      </a:lnTo>
                      <a:lnTo>
                        <a:pt x="93488" y="22105"/>
                      </a:lnTo>
                      <a:lnTo>
                        <a:pt x="97325" y="9473"/>
                      </a:lnTo>
                      <a:lnTo>
                        <a:pt x="101860" y="12631"/>
                      </a:lnTo>
                      <a:lnTo>
                        <a:pt x="101162" y="20210"/>
                      </a:lnTo>
                      <a:lnTo>
                        <a:pt x="103604" y="24000"/>
                      </a:lnTo>
                      <a:lnTo>
                        <a:pt x="110930" y="63157"/>
                      </a:lnTo>
                      <a:lnTo>
                        <a:pt x="120000" y="12000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84" name="Shape 784"/>
                <p:cNvSpPr/>
                <p:nvPr/>
              </p:nvSpPr>
              <p:spPr>
                <a:xfrm>
                  <a:off x="2860688" y="4561862"/>
                  <a:ext cx="906537" cy="102094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20363" y="27979"/>
                      </a:moveTo>
                      <a:lnTo>
                        <a:pt x="36363" y="27357"/>
                      </a:lnTo>
                      <a:lnTo>
                        <a:pt x="40727" y="7461"/>
                      </a:lnTo>
                      <a:lnTo>
                        <a:pt x="61818" y="1865"/>
                      </a:lnTo>
                      <a:lnTo>
                        <a:pt x="76363" y="0"/>
                      </a:lnTo>
                      <a:lnTo>
                        <a:pt x="93090" y="2487"/>
                      </a:lnTo>
                      <a:lnTo>
                        <a:pt x="93818" y="16165"/>
                      </a:lnTo>
                      <a:lnTo>
                        <a:pt x="90181" y="23626"/>
                      </a:lnTo>
                      <a:lnTo>
                        <a:pt x="98181" y="29222"/>
                      </a:lnTo>
                      <a:lnTo>
                        <a:pt x="104000" y="31709"/>
                      </a:lnTo>
                      <a:lnTo>
                        <a:pt x="106181" y="39170"/>
                      </a:lnTo>
                      <a:lnTo>
                        <a:pt x="106909" y="44766"/>
                      </a:lnTo>
                      <a:lnTo>
                        <a:pt x="112000" y="52227"/>
                      </a:lnTo>
                      <a:lnTo>
                        <a:pt x="114909" y="60932"/>
                      </a:lnTo>
                      <a:lnTo>
                        <a:pt x="120000" y="69015"/>
                      </a:lnTo>
                      <a:lnTo>
                        <a:pt x="112000" y="98238"/>
                      </a:lnTo>
                      <a:lnTo>
                        <a:pt x="88000" y="106321"/>
                      </a:lnTo>
                      <a:lnTo>
                        <a:pt x="60363" y="117512"/>
                      </a:lnTo>
                      <a:lnTo>
                        <a:pt x="31272" y="119378"/>
                      </a:lnTo>
                      <a:lnTo>
                        <a:pt x="21818" y="120000"/>
                      </a:lnTo>
                      <a:lnTo>
                        <a:pt x="18181" y="115647"/>
                      </a:lnTo>
                      <a:lnTo>
                        <a:pt x="8000" y="96373"/>
                      </a:lnTo>
                      <a:lnTo>
                        <a:pt x="26909" y="103212"/>
                      </a:lnTo>
                      <a:lnTo>
                        <a:pt x="41454" y="104455"/>
                      </a:lnTo>
                      <a:lnTo>
                        <a:pt x="47272" y="105699"/>
                      </a:lnTo>
                      <a:lnTo>
                        <a:pt x="58181" y="106943"/>
                      </a:lnTo>
                      <a:lnTo>
                        <a:pt x="66181" y="101968"/>
                      </a:lnTo>
                      <a:lnTo>
                        <a:pt x="76363" y="92020"/>
                      </a:lnTo>
                      <a:lnTo>
                        <a:pt x="79272" y="88290"/>
                      </a:lnTo>
                      <a:lnTo>
                        <a:pt x="64727" y="95129"/>
                      </a:lnTo>
                      <a:lnTo>
                        <a:pt x="61818" y="100725"/>
                      </a:lnTo>
                      <a:lnTo>
                        <a:pt x="52363" y="104455"/>
                      </a:lnTo>
                      <a:lnTo>
                        <a:pt x="45818" y="101347"/>
                      </a:lnTo>
                      <a:lnTo>
                        <a:pt x="34909" y="99481"/>
                      </a:lnTo>
                      <a:lnTo>
                        <a:pt x="23272" y="99481"/>
                      </a:lnTo>
                      <a:lnTo>
                        <a:pt x="11636" y="97616"/>
                      </a:lnTo>
                      <a:lnTo>
                        <a:pt x="2181" y="93886"/>
                      </a:lnTo>
                      <a:lnTo>
                        <a:pt x="0" y="88290"/>
                      </a:lnTo>
                      <a:lnTo>
                        <a:pt x="0" y="73989"/>
                      </a:lnTo>
                      <a:lnTo>
                        <a:pt x="5090" y="65906"/>
                      </a:lnTo>
                      <a:lnTo>
                        <a:pt x="5818" y="60310"/>
                      </a:lnTo>
                      <a:lnTo>
                        <a:pt x="14545" y="47253"/>
                      </a:lnTo>
                      <a:lnTo>
                        <a:pt x="18181" y="39170"/>
                      </a:lnTo>
                      <a:lnTo>
                        <a:pt x="13818" y="34196"/>
                      </a:lnTo>
                      <a:lnTo>
                        <a:pt x="20363" y="27979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85" name="Shape 785"/>
                <p:cNvSpPr/>
                <p:nvPr/>
              </p:nvSpPr>
              <p:spPr>
                <a:xfrm>
                  <a:off x="2062659" y="4778750"/>
                  <a:ext cx="957354" cy="87283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17934" y="2545"/>
                      </a:moveTo>
                      <a:lnTo>
                        <a:pt x="32539" y="0"/>
                      </a:lnTo>
                      <a:lnTo>
                        <a:pt x="26513" y="909"/>
                      </a:lnTo>
                      <a:lnTo>
                        <a:pt x="16011" y="4363"/>
                      </a:lnTo>
                      <a:lnTo>
                        <a:pt x="12912" y="7454"/>
                      </a:lnTo>
                      <a:lnTo>
                        <a:pt x="11879" y="17818"/>
                      </a:lnTo>
                      <a:lnTo>
                        <a:pt x="11535" y="32000"/>
                      </a:lnTo>
                      <a:lnTo>
                        <a:pt x="7230" y="40363"/>
                      </a:lnTo>
                      <a:lnTo>
                        <a:pt x="3615" y="56000"/>
                      </a:lnTo>
                      <a:lnTo>
                        <a:pt x="2582" y="58181"/>
                      </a:lnTo>
                      <a:lnTo>
                        <a:pt x="6370" y="60363"/>
                      </a:lnTo>
                      <a:lnTo>
                        <a:pt x="4820" y="66545"/>
                      </a:lnTo>
                      <a:lnTo>
                        <a:pt x="6886" y="68000"/>
                      </a:lnTo>
                      <a:lnTo>
                        <a:pt x="11879" y="64181"/>
                      </a:lnTo>
                      <a:lnTo>
                        <a:pt x="22898" y="72363"/>
                      </a:lnTo>
                      <a:lnTo>
                        <a:pt x="22898" y="75272"/>
                      </a:lnTo>
                      <a:lnTo>
                        <a:pt x="28063" y="71272"/>
                      </a:lnTo>
                      <a:lnTo>
                        <a:pt x="29440" y="78545"/>
                      </a:lnTo>
                      <a:lnTo>
                        <a:pt x="34777" y="80000"/>
                      </a:lnTo>
                      <a:lnTo>
                        <a:pt x="39426" y="75090"/>
                      </a:lnTo>
                      <a:lnTo>
                        <a:pt x="42869" y="76727"/>
                      </a:lnTo>
                      <a:lnTo>
                        <a:pt x="47173" y="84000"/>
                      </a:lnTo>
                      <a:lnTo>
                        <a:pt x="53371" y="87090"/>
                      </a:lnTo>
                      <a:lnTo>
                        <a:pt x="57331" y="81636"/>
                      </a:lnTo>
                      <a:lnTo>
                        <a:pt x="63012" y="80727"/>
                      </a:lnTo>
                      <a:lnTo>
                        <a:pt x="69210" y="83454"/>
                      </a:lnTo>
                      <a:lnTo>
                        <a:pt x="75408" y="84363"/>
                      </a:lnTo>
                      <a:lnTo>
                        <a:pt x="79540" y="86000"/>
                      </a:lnTo>
                      <a:lnTo>
                        <a:pt x="87804" y="86000"/>
                      </a:lnTo>
                      <a:lnTo>
                        <a:pt x="91592" y="83818"/>
                      </a:lnTo>
                      <a:lnTo>
                        <a:pt x="93658" y="83272"/>
                      </a:lnTo>
                      <a:lnTo>
                        <a:pt x="99856" y="81090"/>
                      </a:lnTo>
                      <a:lnTo>
                        <a:pt x="102266" y="84000"/>
                      </a:lnTo>
                      <a:lnTo>
                        <a:pt x="98651" y="86000"/>
                      </a:lnTo>
                      <a:lnTo>
                        <a:pt x="87460" y="89272"/>
                      </a:lnTo>
                      <a:lnTo>
                        <a:pt x="76614" y="89272"/>
                      </a:lnTo>
                      <a:lnTo>
                        <a:pt x="67661" y="89818"/>
                      </a:lnTo>
                      <a:lnTo>
                        <a:pt x="62668" y="89818"/>
                      </a:lnTo>
                      <a:lnTo>
                        <a:pt x="59569" y="87272"/>
                      </a:lnTo>
                      <a:lnTo>
                        <a:pt x="54232" y="89818"/>
                      </a:lnTo>
                      <a:lnTo>
                        <a:pt x="47517" y="89454"/>
                      </a:lnTo>
                      <a:lnTo>
                        <a:pt x="43041" y="87818"/>
                      </a:lnTo>
                      <a:lnTo>
                        <a:pt x="37187" y="87272"/>
                      </a:lnTo>
                      <a:lnTo>
                        <a:pt x="34088" y="88909"/>
                      </a:lnTo>
                      <a:lnTo>
                        <a:pt x="30989" y="88181"/>
                      </a:lnTo>
                      <a:lnTo>
                        <a:pt x="27030" y="84000"/>
                      </a:lnTo>
                      <a:lnTo>
                        <a:pt x="24275" y="80545"/>
                      </a:lnTo>
                      <a:lnTo>
                        <a:pt x="22209" y="82363"/>
                      </a:lnTo>
                      <a:lnTo>
                        <a:pt x="21865" y="87636"/>
                      </a:lnTo>
                      <a:lnTo>
                        <a:pt x="19626" y="90000"/>
                      </a:lnTo>
                      <a:lnTo>
                        <a:pt x="17044" y="90000"/>
                      </a:lnTo>
                      <a:lnTo>
                        <a:pt x="15667" y="92727"/>
                      </a:lnTo>
                      <a:lnTo>
                        <a:pt x="20143" y="98545"/>
                      </a:lnTo>
                      <a:lnTo>
                        <a:pt x="17216" y="100363"/>
                      </a:lnTo>
                      <a:lnTo>
                        <a:pt x="11879" y="98000"/>
                      </a:lnTo>
                      <a:lnTo>
                        <a:pt x="7403" y="95272"/>
                      </a:lnTo>
                      <a:lnTo>
                        <a:pt x="6197" y="90545"/>
                      </a:lnTo>
                      <a:lnTo>
                        <a:pt x="2065" y="94181"/>
                      </a:lnTo>
                      <a:lnTo>
                        <a:pt x="688" y="101272"/>
                      </a:lnTo>
                      <a:lnTo>
                        <a:pt x="688" y="106181"/>
                      </a:lnTo>
                      <a:lnTo>
                        <a:pt x="0" y="110000"/>
                      </a:lnTo>
                      <a:lnTo>
                        <a:pt x="2754" y="111090"/>
                      </a:lnTo>
                      <a:lnTo>
                        <a:pt x="6714" y="115636"/>
                      </a:lnTo>
                      <a:lnTo>
                        <a:pt x="12912" y="120000"/>
                      </a:lnTo>
                      <a:lnTo>
                        <a:pt x="24275" y="118909"/>
                      </a:lnTo>
                      <a:lnTo>
                        <a:pt x="36671" y="118727"/>
                      </a:lnTo>
                      <a:lnTo>
                        <a:pt x="46484" y="118181"/>
                      </a:lnTo>
                      <a:lnTo>
                        <a:pt x="58364" y="114545"/>
                      </a:lnTo>
                      <a:lnTo>
                        <a:pt x="72998" y="110181"/>
                      </a:lnTo>
                      <a:lnTo>
                        <a:pt x="82123" y="107272"/>
                      </a:lnTo>
                      <a:lnTo>
                        <a:pt x="90387" y="105818"/>
                      </a:lnTo>
                      <a:lnTo>
                        <a:pt x="99856" y="105636"/>
                      </a:lnTo>
                      <a:lnTo>
                        <a:pt x="113285" y="110000"/>
                      </a:lnTo>
                      <a:lnTo>
                        <a:pt x="118967" y="110000"/>
                      </a:lnTo>
                      <a:lnTo>
                        <a:pt x="115695" y="100363"/>
                      </a:lnTo>
                      <a:lnTo>
                        <a:pt x="109670" y="84545"/>
                      </a:lnTo>
                      <a:lnTo>
                        <a:pt x="101922" y="80000"/>
                      </a:lnTo>
                      <a:lnTo>
                        <a:pt x="100373" y="70363"/>
                      </a:lnTo>
                      <a:lnTo>
                        <a:pt x="100373" y="59818"/>
                      </a:lnTo>
                      <a:lnTo>
                        <a:pt x="100373" y="54909"/>
                      </a:lnTo>
                      <a:lnTo>
                        <a:pt x="105538" y="46909"/>
                      </a:lnTo>
                      <a:lnTo>
                        <a:pt x="105365" y="40909"/>
                      </a:lnTo>
                      <a:lnTo>
                        <a:pt x="111563" y="27636"/>
                      </a:lnTo>
                      <a:lnTo>
                        <a:pt x="116728" y="16909"/>
                      </a:lnTo>
                      <a:lnTo>
                        <a:pt x="113802" y="9636"/>
                      </a:lnTo>
                      <a:lnTo>
                        <a:pt x="120000" y="2545"/>
                      </a:lnTo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36000" tIns="45700" rIns="36000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86" name="Shape 786"/>
                <p:cNvSpPr/>
                <p:nvPr/>
              </p:nvSpPr>
              <p:spPr>
                <a:xfrm>
                  <a:off x="3224790" y="3096896"/>
                  <a:ext cx="1280137" cy="11532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46094" y="7155"/>
                      </a:moveTo>
                      <a:lnTo>
                        <a:pt x="42746" y="19816"/>
                      </a:lnTo>
                      <a:lnTo>
                        <a:pt x="37339" y="21743"/>
                      </a:lnTo>
                      <a:lnTo>
                        <a:pt x="29613" y="21743"/>
                      </a:lnTo>
                      <a:lnTo>
                        <a:pt x="25236" y="22018"/>
                      </a:lnTo>
                      <a:lnTo>
                        <a:pt x="20600" y="26146"/>
                      </a:lnTo>
                      <a:lnTo>
                        <a:pt x="14420" y="32477"/>
                      </a:lnTo>
                      <a:lnTo>
                        <a:pt x="10300" y="37981"/>
                      </a:lnTo>
                      <a:lnTo>
                        <a:pt x="7982" y="39908"/>
                      </a:lnTo>
                      <a:lnTo>
                        <a:pt x="6952" y="47339"/>
                      </a:lnTo>
                      <a:lnTo>
                        <a:pt x="6952" y="54495"/>
                      </a:lnTo>
                      <a:lnTo>
                        <a:pt x="3862" y="63853"/>
                      </a:lnTo>
                      <a:lnTo>
                        <a:pt x="515" y="70733"/>
                      </a:lnTo>
                      <a:lnTo>
                        <a:pt x="0" y="74311"/>
                      </a:lnTo>
                      <a:lnTo>
                        <a:pt x="3347" y="74587"/>
                      </a:lnTo>
                      <a:lnTo>
                        <a:pt x="4892" y="78165"/>
                      </a:lnTo>
                      <a:lnTo>
                        <a:pt x="11330" y="79816"/>
                      </a:lnTo>
                      <a:lnTo>
                        <a:pt x="11587" y="87522"/>
                      </a:lnTo>
                      <a:lnTo>
                        <a:pt x="19313" y="92201"/>
                      </a:lnTo>
                      <a:lnTo>
                        <a:pt x="21888" y="96055"/>
                      </a:lnTo>
                      <a:lnTo>
                        <a:pt x="21373" y="100733"/>
                      </a:lnTo>
                      <a:lnTo>
                        <a:pt x="19055" y="102935"/>
                      </a:lnTo>
                      <a:lnTo>
                        <a:pt x="22403" y="108440"/>
                      </a:lnTo>
                      <a:lnTo>
                        <a:pt x="26781" y="112293"/>
                      </a:lnTo>
                      <a:lnTo>
                        <a:pt x="29871" y="109541"/>
                      </a:lnTo>
                      <a:lnTo>
                        <a:pt x="31673" y="106238"/>
                      </a:lnTo>
                      <a:lnTo>
                        <a:pt x="36051" y="107339"/>
                      </a:lnTo>
                      <a:lnTo>
                        <a:pt x="40171" y="109266"/>
                      </a:lnTo>
                      <a:lnTo>
                        <a:pt x="44549" y="108990"/>
                      </a:lnTo>
                      <a:lnTo>
                        <a:pt x="49442" y="111467"/>
                      </a:lnTo>
                      <a:lnTo>
                        <a:pt x="50214" y="115871"/>
                      </a:lnTo>
                      <a:lnTo>
                        <a:pt x="50987" y="118073"/>
                      </a:lnTo>
                      <a:lnTo>
                        <a:pt x="55879" y="116422"/>
                      </a:lnTo>
                      <a:lnTo>
                        <a:pt x="60000" y="115321"/>
                      </a:lnTo>
                      <a:lnTo>
                        <a:pt x="62060" y="115596"/>
                      </a:lnTo>
                      <a:lnTo>
                        <a:pt x="67725" y="116697"/>
                      </a:lnTo>
                      <a:lnTo>
                        <a:pt x="75193" y="120000"/>
                      </a:lnTo>
                      <a:lnTo>
                        <a:pt x="75193" y="116697"/>
                      </a:lnTo>
                      <a:lnTo>
                        <a:pt x="79055" y="110917"/>
                      </a:lnTo>
                      <a:lnTo>
                        <a:pt x="90901" y="105137"/>
                      </a:lnTo>
                      <a:lnTo>
                        <a:pt x="100171" y="98532"/>
                      </a:lnTo>
                      <a:lnTo>
                        <a:pt x="107124" y="86422"/>
                      </a:lnTo>
                      <a:lnTo>
                        <a:pt x="112274" y="75412"/>
                      </a:lnTo>
                      <a:lnTo>
                        <a:pt x="112274" y="70183"/>
                      </a:lnTo>
                      <a:lnTo>
                        <a:pt x="111244" y="62201"/>
                      </a:lnTo>
                      <a:lnTo>
                        <a:pt x="115879" y="48165"/>
                      </a:lnTo>
                      <a:lnTo>
                        <a:pt x="112274" y="45688"/>
                      </a:lnTo>
                      <a:lnTo>
                        <a:pt x="111759" y="41559"/>
                      </a:lnTo>
                      <a:lnTo>
                        <a:pt x="113304" y="30825"/>
                      </a:lnTo>
                      <a:lnTo>
                        <a:pt x="112017" y="21467"/>
                      </a:lnTo>
                      <a:lnTo>
                        <a:pt x="120000" y="17889"/>
                      </a:lnTo>
                      <a:lnTo>
                        <a:pt x="117939" y="14587"/>
                      </a:lnTo>
                      <a:lnTo>
                        <a:pt x="113562" y="12385"/>
                      </a:lnTo>
                      <a:lnTo>
                        <a:pt x="101974" y="9908"/>
                      </a:lnTo>
                      <a:lnTo>
                        <a:pt x="91931" y="9357"/>
                      </a:lnTo>
                      <a:lnTo>
                        <a:pt x="88841" y="8807"/>
                      </a:lnTo>
                      <a:lnTo>
                        <a:pt x="84206" y="5504"/>
                      </a:lnTo>
                      <a:lnTo>
                        <a:pt x="79570" y="0"/>
                      </a:lnTo>
                      <a:lnTo>
                        <a:pt x="72618" y="1926"/>
                      </a:lnTo>
                      <a:lnTo>
                        <a:pt x="67467" y="8532"/>
                      </a:lnTo>
                      <a:lnTo>
                        <a:pt x="61802" y="12660"/>
                      </a:lnTo>
                      <a:lnTo>
                        <a:pt x="57939" y="12385"/>
                      </a:lnTo>
                      <a:lnTo>
                        <a:pt x="51502" y="9357"/>
                      </a:lnTo>
                      <a:lnTo>
                        <a:pt x="46094" y="7155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87" name="Shape 787"/>
                <p:cNvSpPr/>
                <p:nvPr/>
              </p:nvSpPr>
              <p:spPr>
                <a:xfrm>
                  <a:off x="2696514" y="3543282"/>
                  <a:ext cx="1082443" cy="84733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20000" y="96894"/>
                      </a:moveTo>
                      <a:lnTo>
                        <a:pt x="114822" y="96521"/>
                      </a:lnTo>
                      <a:lnTo>
                        <a:pt x="106294" y="94658"/>
                      </a:lnTo>
                      <a:lnTo>
                        <a:pt x="99289" y="93913"/>
                      </a:lnTo>
                      <a:lnTo>
                        <a:pt x="94720" y="94658"/>
                      </a:lnTo>
                      <a:lnTo>
                        <a:pt x="90152" y="101739"/>
                      </a:lnTo>
                      <a:lnTo>
                        <a:pt x="87411" y="104347"/>
                      </a:lnTo>
                      <a:lnTo>
                        <a:pt x="84060" y="112546"/>
                      </a:lnTo>
                      <a:lnTo>
                        <a:pt x="80710" y="120000"/>
                      </a:lnTo>
                      <a:lnTo>
                        <a:pt x="71878" y="120000"/>
                      </a:lnTo>
                      <a:lnTo>
                        <a:pt x="58172" y="119627"/>
                      </a:lnTo>
                      <a:lnTo>
                        <a:pt x="34416" y="118509"/>
                      </a:lnTo>
                      <a:lnTo>
                        <a:pt x="33502" y="115527"/>
                      </a:lnTo>
                      <a:lnTo>
                        <a:pt x="31675" y="112919"/>
                      </a:lnTo>
                      <a:lnTo>
                        <a:pt x="27715" y="108074"/>
                      </a:lnTo>
                      <a:lnTo>
                        <a:pt x="26497" y="105465"/>
                      </a:lnTo>
                      <a:lnTo>
                        <a:pt x="24060" y="102111"/>
                      </a:lnTo>
                      <a:lnTo>
                        <a:pt x="22233" y="97267"/>
                      </a:lnTo>
                      <a:lnTo>
                        <a:pt x="20710" y="93167"/>
                      </a:lnTo>
                      <a:lnTo>
                        <a:pt x="18274" y="89813"/>
                      </a:lnTo>
                      <a:lnTo>
                        <a:pt x="15837" y="86832"/>
                      </a:lnTo>
                      <a:lnTo>
                        <a:pt x="15837" y="81242"/>
                      </a:lnTo>
                      <a:lnTo>
                        <a:pt x="18578" y="77142"/>
                      </a:lnTo>
                      <a:lnTo>
                        <a:pt x="20101" y="71552"/>
                      </a:lnTo>
                      <a:lnTo>
                        <a:pt x="20406" y="66708"/>
                      </a:lnTo>
                      <a:lnTo>
                        <a:pt x="18578" y="59254"/>
                      </a:lnTo>
                      <a:lnTo>
                        <a:pt x="15532" y="52173"/>
                      </a:lnTo>
                      <a:lnTo>
                        <a:pt x="16751" y="42857"/>
                      </a:lnTo>
                      <a:lnTo>
                        <a:pt x="15532" y="38385"/>
                      </a:lnTo>
                      <a:lnTo>
                        <a:pt x="11573" y="35403"/>
                      </a:lnTo>
                      <a:lnTo>
                        <a:pt x="7918" y="30931"/>
                      </a:lnTo>
                      <a:lnTo>
                        <a:pt x="13401" y="28695"/>
                      </a:lnTo>
                      <a:lnTo>
                        <a:pt x="15228" y="28322"/>
                      </a:lnTo>
                      <a:lnTo>
                        <a:pt x="11573" y="24968"/>
                      </a:lnTo>
                      <a:lnTo>
                        <a:pt x="7918" y="24596"/>
                      </a:lnTo>
                      <a:lnTo>
                        <a:pt x="2131" y="27950"/>
                      </a:lnTo>
                      <a:lnTo>
                        <a:pt x="0" y="29068"/>
                      </a:lnTo>
                      <a:lnTo>
                        <a:pt x="3045" y="19751"/>
                      </a:lnTo>
                      <a:lnTo>
                        <a:pt x="5482" y="15652"/>
                      </a:lnTo>
                      <a:lnTo>
                        <a:pt x="8527" y="7080"/>
                      </a:lnTo>
                      <a:lnTo>
                        <a:pt x="15532" y="3354"/>
                      </a:lnTo>
                      <a:lnTo>
                        <a:pt x="27715" y="0"/>
                      </a:lnTo>
                      <a:lnTo>
                        <a:pt x="31675" y="1118"/>
                      </a:lnTo>
                      <a:lnTo>
                        <a:pt x="28629" y="8944"/>
                      </a:lnTo>
                      <a:lnTo>
                        <a:pt x="27411" y="17515"/>
                      </a:lnTo>
                      <a:lnTo>
                        <a:pt x="28629" y="24596"/>
                      </a:lnTo>
                      <a:lnTo>
                        <a:pt x="34111" y="32422"/>
                      </a:lnTo>
                      <a:lnTo>
                        <a:pt x="39289" y="39130"/>
                      </a:lnTo>
                      <a:lnTo>
                        <a:pt x="48426" y="41366"/>
                      </a:lnTo>
                      <a:lnTo>
                        <a:pt x="53908" y="38385"/>
                      </a:lnTo>
                      <a:lnTo>
                        <a:pt x="58172" y="36894"/>
                      </a:lnTo>
                      <a:lnTo>
                        <a:pt x="62741" y="37639"/>
                      </a:lnTo>
                      <a:lnTo>
                        <a:pt x="65177" y="41366"/>
                      </a:lnTo>
                      <a:lnTo>
                        <a:pt x="73705" y="44720"/>
                      </a:lnTo>
                      <a:lnTo>
                        <a:pt x="74010" y="55155"/>
                      </a:lnTo>
                      <a:lnTo>
                        <a:pt x="78274" y="58136"/>
                      </a:lnTo>
                      <a:lnTo>
                        <a:pt x="83756" y="62608"/>
                      </a:lnTo>
                      <a:lnTo>
                        <a:pt x="84974" y="69689"/>
                      </a:lnTo>
                      <a:lnTo>
                        <a:pt x="83451" y="74906"/>
                      </a:lnTo>
                      <a:lnTo>
                        <a:pt x="84060" y="79378"/>
                      </a:lnTo>
                      <a:lnTo>
                        <a:pt x="89847" y="87577"/>
                      </a:lnTo>
                      <a:lnTo>
                        <a:pt x="92588" y="89068"/>
                      </a:lnTo>
                      <a:lnTo>
                        <a:pt x="96852" y="81987"/>
                      </a:lnTo>
                      <a:lnTo>
                        <a:pt x="100507" y="80124"/>
                      </a:lnTo>
                      <a:lnTo>
                        <a:pt x="105685" y="84596"/>
                      </a:lnTo>
                      <a:lnTo>
                        <a:pt x="114213" y="84968"/>
                      </a:lnTo>
                      <a:lnTo>
                        <a:pt x="118172" y="88322"/>
                      </a:lnTo>
                      <a:lnTo>
                        <a:pt x="120000" y="96894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88" name="Shape 788"/>
                <p:cNvSpPr/>
                <p:nvPr/>
              </p:nvSpPr>
              <p:spPr>
                <a:xfrm>
                  <a:off x="2202132" y="2956375"/>
                  <a:ext cx="1530126" cy="142177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0" y="69450"/>
                      </a:moveTo>
                      <a:lnTo>
                        <a:pt x="5385" y="67472"/>
                      </a:lnTo>
                      <a:lnTo>
                        <a:pt x="6678" y="62857"/>
                      </a:lnTo>
                      <a:lnTo>
                        <a:pt x="5385" y="58681"/>
                      </a:lnTo>
                      <a:lnTo>
                        <a:pt x="5170" y="56703"/>
                      </a:lnTo>
                      <a:lnTo>
                        <a:pt x="6678" y="51648"/>
                      </a:lnTo>
                      <a:lnTo>
                        <a:pt x="7971" y="45494"/>
                      </a:lnTo>
                      <a:lnTo>
                        <a:pt x="9910" y="39120"/>
                      </a:lnTo>
                      <a:lnTo>
                        <a:pt x="14865" y="34945"/>
                      </a:lnTo>
                      <a:lnTo>
                        <a:pt x="19605" y="30549"/>
                      </a:lnTo>
                      <a:lnTo>
                        <a:pt x="21759" y="28351"/>
                      </a:lnTo>
                      <a:lnTo>
                        <a:pt x="27791" y="27472"/>
                      </a:lnTo>
                      <a:lnTo>
                        <a:pt x="37701" y="28571"/>
                      </a:lnTo>
                      <a:lnTo>
                        <a:pt x="47612" y="29890"/>
                      </a:lnTo>
                      <a:lnTo>
                        <a:pt x="56445" y="31648"/>
                      </a:lnTo>
                      <a:lnTo>
                        <a:pt x="66570" y="32307"/>
                      </a:lnTo>
                      <a:lnTo>
                        <a:pt x="73249" y="32307"/>
                      </a:lnTo>
                      <a:lnTo>
                        <a:pt x="82513" y="28791"/>
                      </a:lnTo>
                      <a:lnTo>
                        <a:pt x="88114" y="21538"/>
                      </a:lnTo>
                      <a:lnTo>
                        <a:pt x="90915" y="12087"/>
                      </a:lnTo>
                      <a:lnTo>
                        <a:pt x="94362" y="1978"/>
                      </a:lnTo>
                      <a:lnTo>
                        <a:pt x="98025" y="0"/>
                      </a:lnTo>
                      <a:lnTo>
                        <a:pt x="103195" y="0"/>
                      </a:lnTo>
                      <a:lnTo>
                        <a:pt x="106211" y="3076"/>
                      </a:lnTo>
                      <a:lnTo>
                        <a:pt x="112459" y="1758"/>
                      </a:lnTo>
                      <a:lnTo>
                        <a:pt x="113321" y="7032"/>
                      </a:lnTo>
                      <a:lnTo>
                        <a:pt x="113536" y="9890"/>
                      </a:lnTo>
                      <a:lnTo>
                        <a:pt x="116122" y="13186"/>
                      </a:lnTo>
                      <a:lnTo>
                        <a:pt x="120000" y="16703"/>
                      </a:lnTo>
                      <a:lnTo>
                        <a:pt x="117630" y="24175"/>
                      </a:lnTo>
                      <a:lnTo>
                        <a:pt x="116337" y="27692"/>
                      </a:lnTo>
                      <a:lnTo>
                        <a:pt x="115044" y="29010"/>
                      </a:lnTo>
                      <a:lnTo>
                        <a:pt x="111382" y="29010"/>
                      </a:lnTo>
                      <a:lnTo>
                        <a:pt x="107719" y="29670"/>
                      </a:lnTo>
                      <a:lnTo>
                        <a:pt x="103411" y="29670"/>
                      </a:lnTo>
                      <a:lnTo>
                        <a:pt x="101256" y="30549"/>
                      </a:lnTo>
                      <a:lnTo>
                        <a:pt x="95870" y="34945"/>
                      </a:lnTo>
                      <a:lnTo>
                        <a:pt x="87253" y="45494"/>
                      </a:lnTo>
                      <a:lnTo>
                        <a:pt x="86822" y="52527"/>
                      </a:lnTo>
                      <a:lnTo>
                        <a:pt x="86175" y="58901"/>
                      </a:lnTo>
                      <a:lnTo>
                        <a:pt x="81220" y="70109"/>
                      </a:lnTo>
                      <a:lnTo>
                        <a:pt x="80574" y="71648"/>
                      </a:lnTo>
                      <a:lnTo>
                        <a:pt x="75834" y="73186"/>
                      </a:lnTo>
                      <a:lnTo>
                        <a:pt x="71095" y="74505"/>
                      </a:lnTo>
                      <a:lnTo>
                        <a:pt x="68294" y="73626"/>
                      </a:lnTo>
                      <a:lnTo>
                        <a:pt x="66570" y="72307"/>
                      </a:lnTo>
                      <a:lnTo>
                        <a:pt x="63554" y="70329"/>
                      </a:lnTo>
                      <a:lnTo>
                        <a:pt x="60969" y="67032"/>
                      </a:lnTo>
                      <a:lnTo>
                        <a:pt x="59461" y="64395"/>
                      </a:lnTo>
                      <a:lnTo>
                        <a:pt x="58599" y="60219"/>
                      </a:lnTo>
                      <a:lnTo>
                        <a:pt x="58384" y="56263"/>
                      </a:lnTo>
                      <a:lnTo>
                        <a:pt x="60323" y="52747"/>
                      </a:lnTo>
                      <a:lnTo>
                        <a:pt x="61400" y="50109"/>
                      </a:lnTo>
                      <a:lnTo>
                        <a:pt x="59030" y="49670"/>
                      </a:lnTo>
                      <a:lnTo>
                        <a:pt x="53644" y="50989"/>
                      </a:lnTo>
                      <a:lnTo>
                        <a:pt x="48043" y="52967"/>
                      </a:lnTo>
                      <a:lnTo>
                        <a:pt x="45242" y="52967"/>
                      </a:lnTo>
                      <a:lnTo>
                        <a:pt x="43518" y="56923"/>
                      </a:lnTo>
                      <a:lnTo>
                        <a:pt x="41364" y="60439"/>
                      </a:lnTo>
                      <a:lnTo>
                        <a:pt x="39210" y="63516"/>
                      </a:lnTo>
                      <a:lnTo>
                        <a:pt x="38132" y="66813"/>
                      </a:lnTo>
                      <a:lnTo>
                        <a:pt x="41364" y="66153"/>
                      </a:lnTo>
                      <a:lnTo>
                        <a:pt x="43949" y="64835"/>
                      </a:lnTo>
                      <a:lnTo>
                        <a:pt x="46535" y="65054"/>
                      </a:lnTo>
                      <a:lnTo>
                        <a:pt x="49766" y="66593"/>
                      </a:lnTo>
                      <a:lnTo>
                        <a:pt x="46319" y="67472"/>
                      </a:lnTo>
                      <a:lnTo>
                        <a:pt x="45026" y="67692"/>
                      </a:lnTo>
                      <a:lnTo>
                        <a:pt x="46535" y="70109"/>
                      </a:lnTo>
                      <a:lnTo>
                        <a:pt x="49766" y="72307"/>
                      </a:lnTo>
                      <a:lnTo>
                        <a:pt x="50197" y="76923"/>
                      </a:lnTo>
                      <a:lnTo>
                        <a:pt x="50197" y="78461"/>
                      </a:lnTo>
                      <a:lnTo>
                        <a:pt x="50843" y="80659"/>
                      </a:lnTo>
                      <a:lnTo>
                        <a:pt x="51490" y="84835"/>
                      </a:lnTo>
                      <a:lnTo>
                        <a:pt x="52782" y="89670"/>
                      </a:lnTo>
                      <a:lnTo>
                        <a:pt x="51921" y="93846"/>
                      </a:lnTo>
                      <a:lnTo>
                        <a:pt x="49766" y="99340"/>
                      </a:lnTo>
                      <a:lnTo>
                        <a:pt x="50843" y="101978"/>
                      </a:lnTo>
                      <a:lnTo>
                        <a:pt x="52998" y="105934"/>
                      </a:lnTo>
                      <a:lnTo>
                        <a:pt x="55798" y="109450"/>
                      </a:lnTo>
                      <a:lnTo>
                        <a:pt x="59676" y="115604"/>
                      </a:lnTo>
                      <a:lnTo>
                        <a:pt x="63339" y="119999"/>
                      </a:lnTo>
                      <a:lnTo>
                        <a:pt x="55798" y="119999"/>
                      </a:lnTo>
                      <a:lnTo>
                        <a:pt x="45457" y="119340"/>
                      </a:lnTo>
                      <a:lnTo>
                        <a:pt x="27791" y="118901"/>
                      </a:lnTo>
                      <a:lnTo>
                        <a:pt x="16588" y="118241"/>
                      </a:lnTo>
                      <a:lnTo>
                        <a:pt x="15511" y="114725"/>
                      </a:lnTo>
                      <a:lnTo>
                        <a:pt x="14219" y="111208"/>
                      </a:lnTo>
                      <a:lnTo>
                        <a:pt x="11633" y="110769"/>
                      </a:lnTo>
                      <a:lnTo>
                        <a:pt x="9910" y="109230"/>
                      </a:lnTo>
                      <a:lnTo>
                        <a:pt x="9479" y="105494"/>
                      </a:lnTo>
                      <a:lnTo>
                        <a:pt x="10341" y="100219"/>
                      </a:lnTo>
                      <a:lnTo>
                        <a:pt x="12064" y="97142"/>
                      </a:lnTo>
                      <a:lnTo>
                        <a:pt x="15727" y="95824"/>
                      </a:lnTo>
                      <a:lnTo>
                        <a:pt x="20897" y="94285"/>
                      </a:lnTo>
                      <a:lnTo>
                        <a:pt x="21974" y="91648"/>
                      </a:lnTo>
                      <a:lnTo>
                        <a:pt x="24991" y="89890"/>
                      </a:lnTo>
                      <a:lnTo>
                        <a:pt x="23052" y="87692"/>
                      </a:lnTo>
                      <a:lnTo>
                        <a:pt x="24775" y="84615"/>
                      </a:lnTo>
                      <a:lnTo>
                        <a:pt x="24129" y="82637"/>
                      </a:lnTo>
                      <a:lnTo>
                        <a:pt x="21974" y="81538"/>
                      </a:lnTo>
                      <a:lnTo>
                        <a:pt x="19820" y="80659"/>
                      </a:lnTo>
                      <a:lnTo>
                        <a:pt x="18096" y="80659"/>
                      </a:lnTo>
                      <a:lnTo>
                        <a:pt x="17450" y="77362"/>
                      </a:lnTo>
                      <a:lnTo>
                        <a:pt x="19174" y="74505"/>
                      </a:lnTo>
                      <a:lnTo>
                        <a:pt x="22405" y="70769"/>
                      </a:lnTo>
                      <a:lnTo>
                        <a:pt x="22836" y="68351"/>
                      </a:lnTo>
                      <a:lnTo>
                        <a:pt x="26068" y="67692"/>
                      </a:lnTo>
                      <a:lnTo>
                        <a:pt x="32100" y="69230"/>
                      </a:lnTo>
                      <a:lnTo>
                        <a:pt x="35763" y="70769"/>
                      </a:lnTo>
                      <a:lnTo>
                        <a:pt x="38779" y="70989"/>
                      </a:lnTo>
                      <a:lnTo>
                        <a:pt x="42441" y="69230"/>
                      </a:lnTo>
                      <a:lnTo>
                        <a:pt x="37701" y="68351"/>
                      </a:lnTo>
                      <a:lnTo>
                        <a:pt x="34254" y="66813"/>
                      </a:lnTo>
                      <a:lnTo>
                        <a:pt x="30807" y="65934"/>
                      </a:lnTo>
                      <a:cubicBezTo>
                        <a:pt x="29299" y="65164"/>
                        <a:pt x="27791" y="64615"/>
                        <a:pt x="26068" y="64615"/>
                      </a:cubicBezTo>
                      <a:lnTo>
                        <a:pt x="20897" y="65934"/>
                      </a:lnTo>
                      <a:lnTo>
                        <a:pt x="18743" y="70109"/>
                      </a:lnTo>
                      <a:lnTo>
                        <a:pt x="16588" y="72527"/>
                      </a:lnTo>
                      <a:lnTo>
                        <a:pt x="14003" y="76043"/>
                      </a:lnTo>
                      <a:lnTo>
                        <a:pt x="13141" y="79120"/>
                      </a:lnTo>
                      <a:lnTo>
                        <a:pt x="11633" y="79340"/>
                      </a:lnTo>
                      <a:lnTo>
                        <a:pt x="10125" y="76923"/>
                      </a:lnTo>
                      <a:lnTo>
                        <a:pt x="6463" y="73406"/>
                      </a:lnTo>
                      <a:lnTo>
                        <a:pt x="1077" y="71208"/>
                      </a:lnTo>
                      <a:lnTo>
                        <a:pt x="0" y="6945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72000" tIns="45700" rIns="91425" bIns="45700" anchor="ctr" anchorCtr="0">
                  <a:noAutofit/>
                </a:bodyPr>
                <a:lstStyle/>
                <a:p>
                  <a:pPr marL="0" marR="0" lvl="0" indent="26670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89" name="Shape 789"/>
                <p:cNvSpPr/>
                <p:nvPr/>
              </p:nvSpPr>
              <p:spPr>
                <a:xfrm>
                  <a:off x="2383439" y="2884965"/>
                  <a:ext cx="1016418" cy="4575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108" y="110982"/>
                      </a:moveTo>
                      <a:lnTo>
                        <a:pt x="2270" y="103352"/>
                      </a:lnTo>
                      <a:lnTo>
                        <a:pt x="0" y="95028"/>
                      </a:lnTo>
                      <a:lnTo>
                        <a:pt x="3243" y="80462"/>
                      </a:lnTo>
                      <a:lnTo>
                        <a:pt x="5837" y="67283"/>
                      </a:lnTo>
                      <a:lnTo>
                        <a:pt x="6810" y="57572"/>
                      </a:lnTo>
                      <a:lnTo>
                        <a:pt x="4864" y="47861"/>
                      </a:lnTo>
                      <a:lnTo>
                        <a:pt x="2270" y="39537"/>
                      </a:lnTo>
                      <a:lnTo>
                        <a:pt x="1945" y="30520"/>
                      </a:lnTo>
                      <a:lnTo>
                        <a:pt x="7135" y="27745"/>
                      </a:lnTo>
                      <a:lnTo>
                        <a:pt x="14918" y="19421"/>
                      </a:lnTo>
                      <a:lnTo>
                        <a:pt x="21729" y="7630"/>
                      </a:lnTo>
                      <a:lnTo>
                        <a:pt x="32756" y="2774"/>
                      </a:lnTo>
                      <a:lnTo>
                        <a:pt x="43135" y="0"/>
                      </a:lnTo>
                      <a:lnTo>
                        <a:pt x="58054" y="7630"/>
                      </a:lnTo>
                      <a:lnTo>
                        <a:pt x="66810" y="12485"/>
                      </a:lnTo>
                      <a:lnTo>
                        <a:pt x="75891" y="11791"/>
                      </a:lnTo>
                      <a:lnTo>
                        <a:pt x="86918" y="16647"/>
                      </a:lnTo>
                      <a:lnTo>
                        <a:pt x="105081" y="19421"/>
                      </a:lnTo>
                      <a:lnTo>
                        <a:pt x="120000" y="26358"/>
                      </a:lnTo>
                      <a:lnTo>
                        <a:pt x="118054" y="41618"/>
                      </a:lnTo>
                      <a:lnTo>
                        <a:pt x="113189" y="69364"/>
                      </a:lnTo>
                      <a:lnTo>
                        <a:pt x="109945" y="90867"/>
                      </a:lnTo>
                      <a:lnTo>
                        <a:pt x="102810" y="106820"/>
                      </a:lnTo>
                      <a:lnTo>
                        <a:pt x="92756" y="117919"/>
                      </a:lnTo>
                      <a:lnTo>
                        <a:pt x="83351" y="120000"/>
                      </a:lnTo>
                      <a:lnTo>
                        <a:pt x="66486" y="118612"/>
                      </a:lnTo>
                      <a:lnTo>
                        <a:pt x="52864" y="113757"/>
                      </a:lnTo>
                      <a:lnTo>
                        <a:pt x="38594" y="109595"/>
                      </a:lnTo>
                      <a:lnTo>
                        <a:pt x="28216" y="106820"/>
                      </a:lnTo>
                      <a:lnTo>
                        <a:pt x="20756" y="105433"/>
                      </a:lnTo>
                      <a:lnTo>
                        <a:pt x="13945" y="106820"/>
                      </a:lnTo>
                      <a:lnTo>
                        <a:pt x="8108" y="110982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90" name="Shape 790"/>
                <p:cNvSpPr/>
                <p:nvPr/>
              </p:nvSpPr>
              <p:spPr>
                <a:xfrm>
                  <a:off x="1897206" y="2324240"/>
                  <a:ext cx="1126298" cy="147323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61463" y="0"/>
                      </a:moveTo>
                      <a:lnTo>
                        <a:pt x="53853" y="4739"/>
                      </a:lnTo>
                      <a:lnTo>
                        <a:pt x="47121" y="11202"/>
                      </a:lnTo>
                      <a:lnTo>
                        <a:pt x="42146" y="16373"/>
                      </a:lnTo>
                      <a:lnTo>
                        <a:pt x="38341" y="22621"/>
                      </a:lnTo>
                      <a:lnTo>
                        <a:pt x="36585" y="26929"/>
                      </a:lnTo>
                      <a:lnTo>
                        <a:pt x="33658" y="29084"/>
                      </a:lnTo>
                      <a:lnTo>
                        <a:pt x="28390" y="31454"/>
                      </a:lnTo>
                      <a:lnTo>
                        <a:pt x="26341" y="33393"/>
                      </a:lnTo>
                      <a:lnTo>
                        <a:pt x="21365" y="36193"/>
                      </a:lnTo>
                      <a:lnTo>
                        <a:pt x="18439" y="38563"/>
                      </a:lnTo>
                      <a:lnTo>
                        <a:pt x="17560" y="40718"/>
                      </a:lnTo>
                      <a:lnTo>
                        <a:pt x="11707" y="42657"/>
                      </a:lnTo>
                      <a:lnTo>
                        <a:pt x="4390" y="47181"/>
                      </a:lnTo>
                      <a:lnTo>
                        <a:pt x="0" y="51274"/>
                      </a:lnTo>
                      <a:lnTo>
                        <a:pt x="3219" y="54075"/>
                      </a:lnTo>
                      <a:lnTo>
                        <a:pt x="8487" y="58384"/>
                      </a:lnTo>
                      <a:lnTo>
                        <a:pt x="12000" y="63554"/>
                      </a:lnTo>
                      <a:lnTo>
                        <a:pt x="13170" y="70879"/>
                      </a:lnTo>
                      <a:lnTo>
                        <a:pt x="13170" y="77342"/>
                      </a:lnTo>
                      <a:lnTo>
                        <a:pt x="9658" y="83590"/>
                      </a:lnTo>
                      <a:lnTo>
                        <a:pt x="6146" y="87253"/>
                      </a:lnTo>
                      <a:lnTo>
                        <a:pt x="8780" y="89838"/>
                      </a:lnTo>
                      <a:lnTo>
                        <a:pt x="13463" y="91777"/>
                      </a:lnTo>
                      <a:lnTo>
                        <a:pt x="19317" y="93931"/>
                      </a:lnTo>
                      <a:lnTo>
                        <a:pt x="21951" y="98456"/>
                      </a:lnTo>
                      <a:lnTo>
                        <a:pt x="23707" y="108366"/>
                      </a:lnTo>
                      <a:lnTo>
                        <a:pt x="26634" y="111382"/>
                      </a:lnTo>
                      <a:lnTo>
                        <a:pt x="31024" y="120000"/>
                      </a:lnTo>
                      <a:lnTo>
                        <a:pt x="34829" y="118707"/>
                      </a:lnTo>
                      <a:lnTo>
                        <a:pt x="39512" y="117414"/>
                      </a:lnTo>
                      <a:lnTo>
                        <a:pt x="41268" y="113321"/>
                      </a:lnTo>
                      <a:lnTo>
                        <a:pt x="39512" y="107935"/>
                      </a:lnTo>
                      <a:lnTo>
                        <a:pt x="41560" y="100610"/>
                      </a:lnTo>
                      <a:lnTo>
                        <a:pt x="44487" y="92208"/>
                      </a:lnTo>
                      <a:lnTo>
                        <a:pt x="47414" y="88761"/>
                      </a:lnTo>
                      <a:lnTo>
                        <a:pt x="56195" y="83375"/>
                      </a:lnTo>
                      <a:lnTo>
                        <a:pt x="60000" y="80359"/>
                      </a:lnTo>
                      <a:lnTo>
                        <a:pt x="55902" y="77989"/>
                      </a:lnTo>
                      <a:lnTo>
                        <a:pt x="52390" y="76481"/>
                      </a:lnTo>
                      <a:lnTo>
                        <a:pt x="52097" y="74111"/>
                      </a:lnTo>
                      <a:lnTo>
                        <a:pt x="54146" y="71095"/>
                      </a:lnTo>
                      <a:lnTo>
                        <a:pt x="57365" y="67432"/>
                      </a:lnTo>
                      <a:lnTo>
                        <a:pt x="57658" y="63123"/>
                      </a:lnTo>
                      <a:lnTo>
                        <a:pt x="55024" y="58815"/>
                      </a:lnTo>
                      <a:lnTo>
                        <a:pt x="52975" y="54937"/>
                      </a:lnTo>
                      <a:lnTo>
                        <a:pt x="57365" y="54290"/>
                      </a:lnTo>
                      <a:lnTo>
                        <a:pt x="65268" y="51059"/>
                      </a:lnTo>
                      <a:lnTo>
                        <a:pt x="71121" y="47827"/>
                      </a:lnTo>
                      <a:lnTo>
                        <a:pt x="84292" y="46104"/>
                      </a:lnTo>
                      <a:lnTo>
                        <a:pt x="90731" y="45673"/>
                      </a:lnTo>
                      <a:lnTo>
                        <a:pt x="99219" y="47396"/>
                      </a:lnTo>
                      <a:lnTo>
                        <a:pt x="112097" y="49120"/>
                      </a:lnTo>
                      <a:lnTo>
                        <a:pt x="120000" y="49120"/>
                      </a:lnTo>
                      <a:lnTo>
                        <a:pt x="118829" y="43518"/>
                      </a:lnTo>
                      <a:lnTo>
                        <a:pt x="119414" y="31023"/>
                      </a:lnTo>
                      <a:lnTo>
                        <a:pt x="113268" y="27576"/>
                      </a:lnTo>
                      <a:lnTo>
                        <a:pt x="102439" y="22405"/>
                      </a:lnTo>
                      <a:lnTo>
                        <a:pt x="97170" y="13141"/>
                      </a:lnTo>
                      <a:lnTo>
                        <a:pt x="92780" y="15511"/>
                      </a:lnTo>
                      <a:lnTo>
                        <a:pt x="88390" y="18096"/>
                      </a:lnTo>
                      <a:lnTo>
                        <a:pt x="84292" y="20682"/>
                      </a:lnTo>
                      <a:lnTo>
                        <a:pt x="81658" y="22621"/>
                      </a:lnTo>
                      <a:lnTo>
                        <a:pt x="78731" y="24775"/>
                      </a:lnTo>
                      <a:lnTo>
                        <a:pt x="70536" y="30161"/>
                      </a:lnTo>
                      <a:lnTo>
                        <a:pt x="62634" y="27145"/>
                      </a:lnTo>
                      <a:lnTo>
                        <a:pt x="56487" y="24775"/>
                      </a:lnTo>
                      <a:lnTo>
                        <a:pt x="51804" y="21328"/>
                      </a:lnTo>
                      <a:lnTo>
                        <a:pt x="51804" y="18743"/>
                      </a:lnTo>
                      <a:lnTo>
                        <a:pt x="59414" y="11418"/>
                      </a:lnTo>
                      <a:lnTo>
                        <a:pt x="63219" y="5385"/>
                      </a:lnTo>
                      <a:lnTo>
                        <a:pt x="61463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144000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91" name="Shape 791"/>
                <p:cNvSpPr/>
                <p:nvPr/>
              </p:nvSpPr>
              <p:spPr>
                <a:xfrm>
                  <a:off x="1537340" y="2956376"/>
                  <a:ext cx="486235" cy="44435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6779" y="0"/>
                      </a:moveTo>
                      <a:lnTo>
                        <a:pt x="63728" y="10714"/>
                      </a:lnTo>
                      <a:lnTo>
                        <a:pt x="47457" y="22142"/>
                      </a:lnTo>
                      <a:lnTo>
                        <a:pt x="36610" y="33571"/>
                      </a:lnTo>
                      <a:lnTo>
                        <a:pt x="17627" y="36428"/>
                      </a:lnTo>
                      <a:lnTo>
                        <a:pt x="3389" y="38571"/>
                      </a:lnTo>
                      <a:lnTo>
                        <a:pt x="0" y="47142"/>
                      </a:lnTo>
                      <a:lnTo>
                        <a:pt x="23050" y="74285"/>
                      </a:lnTo>
                      <a:lnTo>
                        <a:pt x="30508" y="75000"/>
                      </a:lnTo>
                      <a:lnTo>
                        <a:pt x="40000" y="55714"/>
                      </a:lnTo>
                      <a:lnTo>
                        <a:pt x="42033" y="46428"/>
                      </a:lnTo>
                      <a:lnTo>
                        <a:pt x="65762" y="55714"/>
                      </a:lnTo>
                      <a:lnTo>
                        <a:pt x="77966" y="61428"/>
                      </a:lnTo>
                      <a:lnTo>
                        <a:pt x="84067" y="75000"/>
                      </a:lnTo>
                      <a:lnTo>
                        <a:pt x="87457" y="95714"/>
                      </a:lnTo>
                      <a:lnTo>
                        <a:pt x="98305" y="114285"/>
                      </a:lnTo>
                      <a:lnTo>
                        <a:pt x="103050" y="120000"/>
                      </a:lnTo>
                      <a:lnTo>
                        <a:pt x="111186" y="105000"/>
                      </a:lnTo>
                      <a:lnTo>
                        <a:pt x="119999" y="86428"/>
                      </a:lnTo>
                      <a:lnTo>
                        <a:pt x="119999" y="55714"/>
                      </a:lnTo>
                      <a:lnTo>
                        <a:pt x="113220" y="27857"/>
                      </a:lnTo>
                      <a:lnTo>
                        <a:pt x="96271" y="5714"/>
                      </a:lnTo>
                      <a:lnTo>
                        <a:pt x="86779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  <p:grpSp>
            <p:nvGrpSpPr>
              <p:cNvPr id="792" name="Shape 792"/>
              <p:cNvGrpSpPr/>
              <p:nvPr/>
            </p:nvGrpSpPr>
            <p:grpSpPr>
              <a:xfrm>
                <a:off x="1883228" y="1450247"/>
                <a:ext cx="252231" cy="252231"/>
                <a:chOff x="250825" y="3464287"/>
                <a:chExt cx="504462" cy="504462"/>
              </a:xfrm>
            </p:grpSpPr>
            <p:sp>
              <p:nvSpPr>
                <p:cNvPr id="793" name="Shape 793"/>
                <p:cNvSpPr/>
                <p:nvPr/>
              </p:nvSpPr>
              <p:spPr>
                <a:xfrm>
                  <a:off x="250825" y="3464287"/>
                  <a:ext cx="504462" cy="504462"/>
                </a:xfrm>
                <a:prstGeom prst="ellipse">
                  <a:avLst/>
                </a:prstGeom>
                <a:solidFill>
                  <a:srgbClr val="6AAC91"/>
                </a:solidFill>
                <a:ln>
                  <a:noFill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794" name="Shape 794"/>
                <p:cNvSpPr/>
                <p:nvPr/>
              </p:nvSpPr>
              <p:spPr>
                <a:xfrm>
                  <a:off x="376312" y="3589776"/>
                  <a:ext cx="253486" cy="253486"/>
                </a:xfrm>
                <a:prstGeom prst="ellipse">
                  <a:avLst/>
                </a:prstGeom>
                <a:solidFill>
                  <a:srgbClr val="6AAC91"/>
                </a:solidFill>
                <a:ln w="15875" cap="rnd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 panose="020B0502020202020204" pitchFamily="34" charset="0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</p:grpSp>
        <p:sp>
          <p:nvSpPr>
            <p:cNvPr id="795" name="Shape 795"/>
            <p:cNvSpPr txBox="1"/>
            <p:nvPr/>
          </p:nvSpPr>
          <p:spPr>
            <a:xfrm>
              <a:off x="2350797" y="1082105"/>
              <a:ext cx="1689973" cy="424210"/>
            </a:xfrm>
            <a:prstGeom prst="rect">
              <a:avLst/>
            </a:prstGeom>
            <a:solidFill>
              <a:srgbClr val="6AAC9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1200" dirty="0">
                  <a:solidFill>
                    <a:schemeClr val="dk1"/>
                  </a:solidFill>
                  <a:latin typeface="Century Gothic" panose="020B0502020202020204" pitchFamily="34" charset="0"/>
                  <a:ea typeface="Century Gothic"/>
                  <a:cs typeface="Century Gothic"/>
                  <a:sym typeface="Century Gothic"/>
                </a:rPr>
                <a:t>Saint-Louis</a:t>
              </a:r>
            </a:p>
          </p:txBody>
        </p:sp>
      </p:grpSp>
      <p:grpSp>
        <p:nvGrpSpPr>
          <p:cNvPr id="796" name="Shape 796"/>
          <p:cNvGrpSpPr/>
          <p:nvPr/>
        </p:nvGrpSpPr>
        <p:grpSpPr>
          <a:xfrm>
            <a:off x="4344216" y="164867"/>
            <a:ext cx="7728835" cy="6280713"/>
            <a:chOff x="6908546" y="822495"/>
            <a:chExt cx="4715911" cy="5406393"/>
          </a:xfrm>
        </p:grpSpPr>
        <p:grpSp>
          <p:nvGrpSpPr>
            <p:cNvPr id="797" name="Shape 797"/>
            <p:cNvGrpSpPr/>
            <p:nvPr/>
          </p:nvGrpSpPr>
          <p:grpSpPr>
            <a:xfrm>
              <a:off x="6908546" y="868052"/>
              <a:ext cx="441024" cy="465679"/>
              <a:chOff x="250825" y="3464287"/>
              <a:chExt cx="504462" cy="504462"/>
            </a:xfrm>
          </p:grpSpPr>
          <p:sp>
            <p:nvSpPr>
              <p:cNvPr id="798" name="Shape 798"/>
              <p:cNvSpPr/>
              <p:nvPr/>
            </p:nvSpPr>
            <p:spPr>
              <a:xfrm>
                <a:off x="250825" y="3464287"/>
                <a:ext cx="504462" cy="504462"/>
              </a:xfrm>
              <a:prstGeom prst="ellipse">
                <a:avLst/>
              </a:prstGeom>
              <a:solidFill>
                <a:srgbClr val="6AAC91"/>
              </a:solidFill>
              <a:ln>
                <a:noFill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chemeClr val="lt1"/>
                  </a:solidFill>
                  <a:latin typeface="Century Gothic" panose="020B0502020202020204" pitchFamily="34" charset="0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99" name="Shape 799"/>
              <p:cNvSpPr/>
              <p:nvPr/>
            </p:nvSpPr>
            <p:spPr>
              <a:xfrm>
                <a:off x="376312" y="3589776"/>
                <a:ext cx="253486" cy="253486"/>
              </a:xfrm>
              <a:prstGeom prst="ellipse">
                <a:avLst/>
              </a:prstGeom>
              <a:solidFill>
                <a:srgbClr val="6AAC91"/>
              </a:solidFill>
              <a:ln w="15875" cap="rnd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chemeClr val="lt1"/>
                  </a:solidFill>
                  <a:latin typeface="Century Gothic" panose="020B0502020202020204" pitchFamily="34" charset="0"/>
                  <a:ea typeface="Century Gothic"/>
                  <a:cs typeface="Century Gothic"/>
                  <a:sym typeface="Century Gothic"/>
                </a:endParaRPr>
              </a:p>
            </p:txBody>
          </p:sp>
        </p:grpSp>
        <p:sp>
          <p:nvSpPr>
            <p:cNvPr id="800" name="Shape 800"/>
            <p:cNvSpPr/>
            <p:nvPr/>
          </p:nvSpPr>
          <p:spPr>
            <a:xfrm>
              <a:off x="6979207" y="1445532"/>
              <a:ext cx="4645250" cy="4783356"/>
            </a:xfrm>
            <a:prstGeom prst="roundRect">
              <a:avLst>
                <a:gd name="adj" fmla="val 1831"/>
              </a:avLst>
            </a:prstGeom>
            <a:solidFill>
              <a:schemeClr val="lt1"/>
            </a:solidFill>
            <a:ln w="9525" cap="flat" cmpd="sng">
              <a:solidFill>
                <a:srgbClr val="BFBFB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182875" rIns="91425" bIns="45700" anchor="t" anchorCtr="0">
              <a:noAutofit/>
            </a:bodyPr>
            <a:lstStyle/>
            <a:p>
              <a:pPr marL="342900" marR="0" lvl="1" indent="-342900" algn="l" rtl="0">
                <a:spcBef>
                  <a:spcPts val="600"/>
                </a:spcBef>
                <a:buClr>
                  <a:schemeClr val="accent1"/>
                </a:buClr>
                <a:buFont typeface="Noto Sans Symbols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Century Gothic" panose="020B0502020202020204" pitchFamily="34" charset="0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801" name="Shape 801"/>
            <p:cNvSpPr/>
            <p:nvPr/>
          </p:nvSpPr>
          <p:spPr>
            <a:xfrm>
              <a:off x="7536064" y="822495"/>
              <a:ext cx="4060245" cy="556796"/>
            </a:xfrm>
            <a:prstGeom prst="roundRect">
              <a:avLst>
                <a:gd name="adj" fmla="val 13209"/>
              </a:avLst>
            </a:prstGeom>
            <a:solidFill>
              <a:srgbClr val="6AAC91"/>
            </a:solidFill>
            <a:ln w="15875" cap="rnd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799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lIns="5486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2000" b="1" cap="small" dirty="0">
                  <a:solidFill>
                    <a:schemeClr val="dk1"/>
                  </a:solidFill>
                  <a:latin typeface="Century Gothic" panose="020B0502020202020204" pitchFamily="34" charset="0"/>
                  <a:ea typeface="Century Gothic"/>
                  <a:cs typeface="Century Gothic"/>
                  <a:sym typeface="Century Gothic"/>
                </a:rPr>
                <a:t>Saint-Louis</a:t>
              </a:r>
            </a:p>
          </p:txBody>
        </p:sp>
      </p:grpSp>
      <p:pic>
        <p:nvPicPr>
          <p:cNvPr id="802" name="Shape 802" descr="Résultat de recherche d'images pour &quot;saint-louis sénégal&quot;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16908" y="5147913"/>
            <a:ext cx="1347151" cy="1131036"/>
          </a:xfrm>
          <a:prstGeom prst="rect">
            <a:avLst/>
          </a:prstGeom>
          <a:noFill/>
          <a:ln>
            <a:noFill/>
          </a:ln>
        </p:spPr>
      </p:pic>
      <p:pic>
        <p:nvPicPr>
          <p:cNvPr id="803" name="Shape 803" descr="Résultat de recherche d'images pour &quot;saint-louis sénégal&quot;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33678" y="5147913"/>
            <a:ext cx="1238813" cy="1131035"/>
          </a:xfrm>
          <a:prstGeom prst="rect">
            <a:avLst/>
          </a:prstGeom>
          <a:noFill/>
          <a:ln>
            <a:noFill/>
          </a:ln>
        </p:spPr>
      </p:pic>
      <p:pic>
        <p:nvPicPr>
          <p:cNvPr id="805" name="Shape 805" descr="Résultat de recherche d'images pour &quot;saint-louis festival jazz&quot;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085937" y="5147913"/>
            <a:ext cx="1354504" cy="1123984"/>
          </a:xfrm>
          <a:prstGeom prst="rect">
            <a:avLst/>
          </a:prstGeom>
          <a:noFill/>
          <a:ln>
            <a:noFill/>
          </a:ln>
        </p:spPr>
      </p:pic>
      <p:pic>
        <p:nvPicPr>
          <p:cNvPr id="806" name="Shape 806"/>
          <p:cNvPicPr preferRelativeResize="0"/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21881" y="-30392"/>
            <a:ext cx="1030643" cy="760713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4" name="Tableau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082408"/>
              </p:ext>
            </p:extLst>
          </p:nvPr>
        </p:nvGraphicFramePr>
        <p:xfrm>
          <a:off x="133678" y="4607042"/>
          <a:ext cx="432634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26343"/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800" b="0" i="0" u="none" strike="noStrike" cap="none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Population : 1</a:t>
                      </a:r>
                      <a:r>
                        <a:rPr lang="fr-CA" sz="1800" b="0" i="0" u="none" strike="noStrike" cap="none" baseline="0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009 170 </a:t>
                      </a:r>
                      <a:r>
                        <a:rPr lang="fr-CA" sz="1800" b="0" i="0" u="none" strike="noStrike" cap="none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habitant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5" name="Tableau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6445863"/>
              </p:ext>
            </p:extLst>
          </p:nvPr>
        </p:nvGraphicFramePr>
        <p:xfrm>
          <a:off x="164898" y="6276199"/>
          <a:ext cx="4295124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512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CA" dirty="0" smtClean="0">
                          <a:solidFill>
                            <a:schemeClr val="tx1"/>
                          </a:solidFill>
                        </a:rPr>
                        <a:t>Tourisme</a:t>
                      </a:r>
                      <a:r>
                        <a:rPr lang="fr-CA" baseline="0" dirty="0" smtClean="0">
                          <a:solidFill>
                            <a:schemeClr val="tx1"/>
                          </a:solidFill>
                        </a:rPr>
                        <a:t> – Culture </a:t>
                      </a:r>
                      <a:endParaRPr lang="fr-CA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6" name="Tableau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0020608"/>
              </p:ext>
            </p:extLst>
          </p:nvPr>
        </p:nvGraphicFramePr>
        <p:xfrm>
          <a:off x="4642786" y="959413"/>
          <a:ext cx="7410152" cy="8578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060"/>
                <a:gridCol w="4958092"/>
              </a:tblGrid>
              <a:tr h="316230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TURE DE L’AÉRODROME</a:t>
                      </a:r>
                      <a:endParaRPr lang="fr-CA" sz="11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6AAC9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dirty="0">
                          <a:effectLst/>
                          <a:latin typeface="Century Gothic" panose="020B0502020202020204" pitchFamily="34" charset="0"/>
                        </a:rPr>
                        <a:t>Type d’aéroport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I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nternational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70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dirty="0">
                          <a:effectLst/>
                          <a:latin typeface="Century Gothic" panose="020B0502020202020204" pitchFamily="34" charset="0"/>
                        </a:rPr>
                        <a:t>Trafic passagers en </a:t>
                      </a: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2016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fr-CA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7" name="Tableau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2767138"/>
              </p:ext>
            </p:extLst>
          </p:nvPr>
        </p:nvGraphicFramePr>
        <p:xfrm>
          <a:off x="4642787" y="2154474"/>
          <a:ext cx="7410151" cy="4494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9631"/>
                <a:gridCol w="2629006"/>
                <a:gridCol w="2771514"/>
              </a:tblGrid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ÉTAT DES LIEUX</a:t>
                      </a:r>
                      <a:endParaRPr lang="fr-CA" sz="11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>
                    <a:solidFill>
                      <a:srgbClr val="6AAC9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NSISTANCE DES TRAVAUX</a:t>
                      </a:r>
                      <a:endParaRPr lang="fr-CA" sz="11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>
                    <a:solidFill>
                      <a:srgbClr val="6AAC91"/>
                    </a:solidFill>
                  </a:tcPr>
                </a:tc>
              </a:tr>
              <a:tr h="283440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PISTE 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1900 x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30 en bitume 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2600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x 45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396376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CLÔTURE DE L’EMPRISE</a:t>
                      </a:r>
                      <a:r>
                        <a:rPr lang="fr-CA" sz="1100" b="1" baseline="0" dirty="0" smtClean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ÉROPORTUAIRE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371475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Agressé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Reconstruction avec 3 sorties de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secours +</a:t>
                      </a:r>
                      <a:r>
                        <a:rPr lang="fr-CA" sz="1100" baseline="0" dirty="0" smtClean="0">
                          <a:effectLst/>
                          <a:latin typeface="Century Gothic" panose="020B0502020202020204" pitchFamily="34" charset="0"/>
                        </a:rPr>
                        <a:t> routes d’accè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ÉROGARE + SALON VIP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300m2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ouvelle aérogare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3000m2 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170504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SSLI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iveau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5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sur 6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iveau 6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IRE DE STATIONNEMENT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Dégradé en parti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A réhabilit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ÉQUIPEMENTS DE N/A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Né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ILS +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VO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BÂTIMENTS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A réfectionn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Reconstruction et équipement des bâtiment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170504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STATION MÉTÉO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Obsolèt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ouvelle station météo équipé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SSISTANCE AU SOL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Rudimentaire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Équipement des services d’assistance au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sol + véhicules aéroportuaire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CENTRALE ÉNERGÉTIQUE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50 </a:t>
                      </a:r>
                      <a:r>
                        <a:rPr lang="fr-CA" sz="110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200</a:t>
                      </a:r>
                      <a:r>
                        <a:rPr lang="fr-CA" sz="1100" baseline="0" dirty="0" smtClean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CA" sz="1100" baseline="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512310"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ÉPÔT ET FOURNITURE CARBURANT</a:t>
                      </a:r>
                      <a:endParaRPr lang="fr-CA" sz="1100" b="1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Rudimentaire</a:t>
                      </a: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8t de 100LL</a:t>
                      </a:r>
                      <a:r>
                        <a:rPr lang="fr-CA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+ 39t de Jet A1</a:t>
                      </a: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02677">
                <a:tc>
                  <a:txBody>
                    <a:bodyPr/>
                    <a:lstStyle/>
                    <a:p>
                      <a:pPr marL="0" marR="0" lvl="0" indent="85725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OBJECTIF </a:t>
                      </a: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Versement de la gestion technique de l’aérodrome à l’ASECNA</a:t>
                      </a: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02677"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OÛT ESTIMÉ</a:t>
                      </a:r>
                      <a:endParaRPr lang="fr-CA" sz="1100" b="1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400" b="1" kern="1200" baseline="0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5 000 000 000 F CFA</a:t>
                      </a:r>
                      <a:endParaRPr lang="fr-CA" sz="1400" b="1" kern="1200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0450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" name="Shape 266"/>
          <p:cNvGrpSpPr/>
          <p:nvPr/>
        </p:nvGrpSpPr>
        <p:grpSpPr>
          <a:xfrm>
            <a:off x="2058777" y="1201076"/>
            <a:ext cx="4975647" cy="4698762"/>
            <a:chOff x="3866485" y="1323553"/>
            <a:chExt cx="4459029" cy="4210894"/>
          </a:xfrm>
        </p:grpSpPr>
        <p:sp>
          <p:nvSpPr>
            <p:cNvPr id="267" name="Shape 267"/>
            <p:cNvSpPr/>
            <p:nvPr/>
          </p:nvSpPr>
          <p:spPr>
            <a:xfrm>
              <a:off x="3866485" y="2640768"/>
              <a:ext cx="2116128" cy="289367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2046" y="0"/>
                  </a:moveTo>
                  <a:cubicBezTo>
                    <a:pt x="93374" y="0"/>
                    <a:pt x="104166" y="1678"/>
                    <a:pt x="113982" y="4715"/>
                  </a:cubicBezTo>
                  <a:lnTo>
                    <a:pt x="120000" y="6834"/>
                  </a:lnTo>
                  <a:lnTo>
                    <a:pt x="112721" y="10915"/>
                  </a:lnTo>
                  <a:cubicBezTo>
                    <a:pt x="93932" y="22817"/>
                    <a:pt x="82046" y="40393"/>
                    <a:pt x="82046" y="60000"/>
                  </a:cubicBezTo>
                  <a:lnTo>
                    <a:pt x="82155" y="61583"/>
                  </a:lnTo>
                  <a:lnTo>
                    <a:pt x="82155" y="61583"/>
                  </a:lnTo>
                  <a:lnTo>
                    <a:pt x="82504" y="66637"/>
                  </a:lnTo>
                  <a:cubicBezTo>
                    <a:pt x="84891" y="83822"/>
                    <a:pt x="96444" y="99025"/>
                    <a:pt x="113531" y="109591"/>
                  </a:cubicBezTo>
                  <a:lnTo>
                    <a:pt x="119990" y="113168"/>
                  </a:lnTo>
                  <a:lnTo>
                    <a:pt x="113982" y="115284"/>
                  </a:lnTo>
                  <a:cubicBezTo>
                    <a:pt x="104166" y="118321"/>
                    <a:pt x="93374" y="120000"/>
                    <a:pt x="82046" y="120000"/>
                  </a:cubicBezTo>
                  <a:cubicBezTo>
                    <a:pt x="36733" y="120000"/>
                    <a:pt x="0" y="93137"/>
                    <a:pt x="0" y="60000"/>
                  </a:cubicBezTo>
                  <a:cubicBezTo>
                    <a:pt x="0" y="26862"/>
                    <a:pt x="36733" y="0"/>
                    <a:pt x="82046" y="0"/>
                  </a:cubicBezTo>
                  <a:close/>
                </a:path>
              </a:pathLst>
            </a:custGeom>
            <a:solidFill>
              <a:srgbClr val="F3AC1E"/>
            </a:soli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68" name="Shape 268"/>
            <p:cNvSpPr/>
            <p:nvPr/>
          </p:nvSpPr>
          <p:spPr>
            <a:xfrm>
              <a:off x="5436876" y="2868165"/>
              <a:ext cx="2888638" cy="266628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2153" y="0"/>
                  </a:moveTo>
                  <a:lnTo>
                    <a:pt x="93500" y="886"/>
                  </a:lnTo>
                  <a:cubicBezTo>
                    <a:pt x="109488" y="12588"/>
                    <a:pt x="120000" y="32405"/>
                    <a:pt x="120000" y="54882"/>
                  </a:cubicBezTo>
                  <a:cubicBezTo>
                    <a:pt x="120000" y="90846"/>
                    <a:pt x="93090" y="120000"/>
                    <a:pt x="59895" y="120000"/>
                  </a:cubicBezTo>
                  <a:cubicBezTo>
                    <a:pt x="28775" y="120000"/>
                    <a:pt x="3178" y="94376"/>
                    <a:pt x="100" y="61540"/>
                  </a:cubicBezTo>
                  <a:lnTo>
                    <a:pt x="0" y="59375"/>
                  </a:lnTo>
                  <a:lnTo>
                    <a:pt x="3537" y="61163"/>
                  </a:lnTo>
                  <a:cubicBezTo>
                    <a:pt x="10920" y="64317"/>
                    <a:pt x="18964" y="66050"/>
                    <a:pt x="27381" y="66050"/>
                  </a:cubicBezTo>
                  <a:cubicBezTo>
                    <a:pt x="38604" y="66050"/>
                    <a:pt x="49163" y="62970"/>
                    <a:pt x="58377" y="57547"/>
                  </a:cubicBezTo>
                  <a:lnTo>
                    <a:pt x="59815" y="56601"/>
                  </a:lnTo>
                  <a:lnTo>
                    <a:pt x="59815" y="56601"/>
                  </a:lnTo>
                  <a:lnTo>
                    <a:pt x="63739" y="54018"/>
                  </a:lnTo>
                  <a:cubicBezTo>
                    <a:pt x="78874" y="42940"/>
                    <a:pt x="89473" y="25140"/>
                    <a:pt x="91886" y="4572"/>
                  </a:cubicBezTo>
                  <a:lnTo>
                    <a:pt x="92153" y="0"/>
                  </a:lnTo>
                  <a:close/>
                </a:path>
              </a:pathLst>
            </a:custGeom>
            <a:solidFill>
              <a:srgbClr val="A1B400"/>
            </a:soli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69" name="Shape 269"/>
            <p:cNvSpPr/>
            <p:nvPr/>
          </p:nvSpPr>
          <p:spPr>
            <a:xfrm>
              <a:off x="4654201" y="1323553"/>
              <a:ext cx="2888638" cy="266628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9895" y="0"/>
                  </a:moveTo>
                  <a:cubicBezTo>
                    <a:pt x="93090" y="0"/>
                    <a:pt x="120000" y="29153"/>
                    <a:pt x="120000" y="65117"/>
                  </a:cubicBezTo>
                  <a:cubicBezTo>
                    <a:pt x="120000" y="87594"/>
                    <a:pt x="109488" y="107411"/>
                    <a:pt x="93500" y="119113"/>
                  </a:cubicBezTo>
                  <a:lnTo>
                    <a:pt x="92153" y="120000"/>
                  </a:lnTo>
                  <a:lnTo>
                    <a:pt x="91886" y="115427"/>
                  </a:lnTo>
                  <a:cubicBezTo>
                    <a:pt x="89473" y="94859"/>
                    <a:pt x="78874" y="77059"/>
                    <a:pt x="63739" y="65981"/>
                  </a:cubicBezTo>
                  <a:lnTo>
                    <a:pt x="59895" y="63451"/>
                  </a:lnTo>
                  <a:lnTo>
                    <a:pt x="59895" y="63451"/>
                  </a:lnTo>
                  <a:lnTo>
                    <a:pt x="58377" y="62452"/>
                  </a:lnTo>
                  <a:cubicBezTo>
                    <a:pt x="49163" y="57029"/>
                    <a:pt x="38604" y="53949"/>
                    <a:pt x="27381" y="53949"/>
                  </a:cubicBezTo>
                  <a:cubicBezTo>
                    <a:pt x="18964" y="53949"/>
                    <a:pt x="10920" y="55682"/>
                    <a:pt x="3537" y="58836"/>
                  </a:cubicBezTo>
                  <a:lnTo>
                    <a:pt x="0" y="60624"/>
                  </a:lnTo>
                  <a:lnTo>
                    <a:pt x="100" y="58459"/>
                  </a:lnTo>
                  <a:cubicBezTo>
                    <a:pt x="3178" y="25623"/>
                    <a:pt x="28775" y="0"/>
                    <a:pt x="59895" y="0"/>
                  </a:cubicBezTo>
                  <a:close/>
                </a:path>
              </a:pathLst>
            </a:custGeom>
            <a:solidFill>
              <a:srgbClr val="DE3F18"/>
            </a:soli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70" name="Shape 270"/>
            <p:cNvSpPr/>
            <p:nvPr/>
          </p:nvSpPr>
          <p:spPr>
            <a:xfrm>
              <a:off x="5436876" y="4418557"/>
              <a:ext cx="2735414" cy="524057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Réhabilitation des aérodromes régionaux</a:t>
              </a:r>
            </a:p>
          </p:txBody>
        </p:sp>
        <p:grpSp>
          <p:nvGrpSpPr>
            <p:cNvPr id="271" name="Shape 271"/>
            <p:cNvGrpSpPr/>
            <p:nvPr/>
          </p:nvGrpSpPr>
          <p:grpSpPr>
            <a:xfrm>
              <a:off x="4942686" y="1847461"/>
              <a:ext cx="2697750" cy="634387"/>
              <a:chOff x="1143537" y="4428142"/>
              <a:chExt cx="3211232" cy="634387"/>
            </a:xfrm>
          </p:grpSpPr>
          <p:sp>
            <p:nvSpPr>
              <p:cNvPr id="272" name="Shape 272"/>
              <p:cNvSpPr/>
              <p:nvPr/>
            </p:nvSpPr>
            <p:spPr>
              <a:xfrm>
                <a:off x="2850948" y="4698276"/>
                <a:ext cx="1503821" cy="22065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just" rtl="0">
                  <a:spcBef>
                    <a:spcPts val="0"/>
                  </a:spcBef>
                  <a:buNone/>
                </a:pPr>
                <a:endParaRPr sz="10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273" name="Shape 273"/>
              <p:cNvSpPr/>
              <p:nvPr/>
            </p:nvSpPr>
            <p:spPr>
              <a:xfrm>
                <a:off x="1143537" y="4428142"/>
                <a:ext cx="2777343" cy="6343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SzPct val="25000"/>
                  <a:buNone/>
                </a:pPr>
                <a:r>
                  <a:rPr lang="fr-CA" sz="2000" b="1">
                    <a:solidFill>
                      <a:schemeClr val="dk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Mise en service de l’AIBD</a:t>
                </a:r>
              </a:p>
            </p:txBody>
          </p:sp>
        </p:grpSp>
        <p:sp>
          <p:nvSpPr>
            <p:cNvPr id="274" name="Shape 274"/>
            <p:cNvSpPr/>
            <p:nvPr/>
          </p:nvSpPr>
          <p:spPr>
            <a:xfrm>
              <a:off x="3876651" y="3507151"/>
              <a:ext cx="1560225" cy="1186028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ise en place de la nouvelle compagnie nationale</a:t>
              </a:r>
            </a:p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Air Senegal SA</a:t>
              </a:r>
            </a:p>
          </p:txBody>
        </p:sp>
      </p:grpSp>
      <p:sp>
        <p:nvSpPr>
          <p:cNvPr id="275" name="Shape 275"/>
          <p:cNvSpPr txBox="1">
            <a:spLocks noGrp="1"/>
          </p:cNvSpPr>
          <p:nvPr>
            <p:ph type="title"/>
          </p:nvPr>
        </p:nvSpPr>
        <p:spPr>
          <a:xfrm>
            <a:off x="976625" y="114601"/>
            <a:ext cx="9696450" cy="103867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0000FF"/>
              </a:buClr>
              <a:buSzPct val="25000"/>
              <a:buFont typeface="Verdana"/>
              <a:buNone/>
            </a:pPr>
            <a:r>
              <a:rPr lang="fr-CA" sz="3240" b="1" i="0" u="none" strike="noStrike" cap="none">
                <a:solidFill>
                  <a:srgbClr val="0000FF"/>
                </a:solidFill>
                <a:latin typeface="Verdana"/>
                <a:ea typeface="Verdana"/>
                <a:cs typeface="Verdana"/>
                <a:sym typeface="Verdana"/>
              </a:rPr>
              <a:t>     </a:t>
            </a:r>
            <a:r>
              <a:rPr lang="fr-CA" sz="279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Projet de relance du Hub Aérien Régional</a:t>
            </a:r>
          </a:p>
        </p:txBody>
      </p:sp>
      <p:sp>
        <p:nvSpPr>
          <p:cNvPr id="276" name="Shape 276"/>
          <p:cNvSpPr/>
          <p:nvPr/>
        </p:nvSpPr>
        <p:spPr>
          <a:xfrm>
            <a:off x="7713132" y="1346200"/>
            <a:ext cx="4106332" cy="1371599"/>
          </a:xfrm>
          <a:prstGeom prst="roundRect">
            <a:avLst>
              <a:gd name="adj" fmla="val 16667"/>
            </a:avLst>
          </a:prstGeom>
          <a:solidFill>
            <a:srgbClr val="DE3F18"/>
          </a:solidFill>
          <a:ln w="15875" cap="rnd" cmpd="sng">
            <a:solidFill>
              <a:srgbClr val="A25B1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1" indent="0" algn="ctr" rtl="0">
              <a:spcBef>
                <a:spcPts val="0"/>
              </a:spcBef>
              <a:buSzPct val="25000"/>
              <a:buNone/>
            </a:pPr>
            <a:r>
              <a:rPr lang="fr-CA" sz="1800" b="0" i="0" u="none" strike="noStrike" cap="none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nstruction d’un nouvel aéroport à </a:t>
            </a:r>
            <a:r>
              <a:rPr lang="fr-CA" sz="1800" b="0" i="0" u="none" strike="noStrike" cap="none" dirty="0" err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iass</a:t>
            </a:r>
            <a:r>
              <a:rPr lang="fr-CA" sz="1800" b="0" i="0" u="none" strike="noStrike" cap="none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qui répond aux standards internationaux et son hub de maintenance</a:t>
            </a:r>
          </a:p>
        </p:txBody>
      </p:sp>
      <p:sp>
        <p:nvSpPr>
          <p:cNvPr id="277" name="Shape 277"/>
          <p:cNvSpPr/>
          <p:nvPr/>
        </p:nvSpPr>
        <p:spPr>
          <a:xfrm>
            <a:off x="7713132" y="2927782"/>
            <a:ext cx="4106332" cy="1371599"/>
          </a:xfrm>
          <a:prstGeom prst="roundRect">
            <a:avLst>
              <a:gd name="adj" fmla="val 16667"/>
            </a:avLst>
          </a:prstGeom>
          <a:solidFill>
            <a:srgbClr val="A1B400"/>
          </a:solidFill>
          <a:ln w="15875" cap="rnd" cmpd="sng">
            <a:solidFill>
              <a:srgbClr val="A25B1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fr-CA" sz="1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articipation au désenclavement et au développement du tourisme dans les régions du Sénégal</a:t>
            </a:r>
          </a:p>
        </p:txBody>
      </p:sp>
      <p:sp>
        <p:nvSpPr>
          <p:cNvPr id="278" name="Shape 278"/>
          <p:cNvSpPr/>
          <p:nvPr/>
        </p:nvSpPr>
        <p:spPr>
          <a:xfrm>
            <a:off x="7713132" y="4553636"/>
            <a:ext cx="4106332" cy="1371599"/>
          </a:xfrm>
          <a:prstGeom prst="roundRect">
            <a:avLst>
              <a:gd name="adj" fmla="val 16667"/>
            </a:avLst>
          </a:prstGeom>
          <a:solidFill>
            <a:srgbClr val="F3AC1E"/>
          </a:solidFill>
          <a:ln w="15875" cap="rnd" cmpd="sng">
            <a:solidFill>
              <a:srgbClr val="A25B1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fr-CA" sz="1800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avillon national fort pour relier les dessertes domestiques, régionales et internationales</a:t>
            </a:r>
          </a:p>
        </p:txBody>
      </p:sp>
      <p:pic>
        <p:nvPicPr>
          <p:cNvPr id="279" name="Shape 279"/>
          <p:cNvPicPr preferRelativeResize="0"/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3973730" y="3245160"/>
            <a:ext cx="1089024" cy="1232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Shape 280"/>
          <p:cNvPicPr preferRelativeResize="0"/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477471" y="0"/>
            <a:ext cx="998308" cy="952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9813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6" name="Shape 796"/>
          <p:cNvGrpSpPr/>
          <p:nvPr/>
        </p:nvGrpSpPr>
        <p:grpSpPr>
          <a:xfrm>
            <a:off x="4344216" y="164867"/>
            <a:ext cx="7728835" cy="6280713"/>
            <a:chOff x="6908546" y="822495"/>
            <a:chExt cx="4715911" cy="5406393"/>
          </a:xfrm>
        </p:grpSpPr>
        <p:grpSp>
          <p:nvGrpSpPr>
            <p:cNvPr id="797" name="Shape 797"/>
            <p:cNvGrpSpPr/>
            <p:nvPr/>
          </p:nvGrpSpPr>
          <p:grpSpPr>
            <a:xfrm>
              <a:off x="6908546" y="868052"/>
              <a:ext cx="441024" cy="465679"/>
              <a:chOff x="250825" y="3464287"/>
              <a:chExt cx="504462" cy="504462"/>
            </a:xfrm>
          </p:grpSpPr>
          <p:sp>
            <p:nvSpPr>
              <p:cNvPr id="798" name="Shape 798"/>
              <p:cNvSpPr/>
              <p:nvPr/>
            </p:nvSpPr>
            <p:spPr>
              <a:xfrm>
                <a:off x="250825" y="3464287"/>
                <a:ext cx="504462" cy="504462"/>
              </a:xfrm>
              <a:prstGeom prst="ellipse">
                <a:avLst/>
              </a:prstGeom>
              <a:solidFill>
                <a:srgbClr val="29A3FF"/>
              </a:solidFill>
              <a:ln>
                <a:noFill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99" name="Shape 799"/>
              <p:cNvSpPr/>
              <p:nvPr/>
            </p:nvSpPr>
            <p:spPr>
              <a:xfrm>
                <a:off x="376312" y="3589776"/>
                <a:ext cx="253486" cy="253486"/>
              </a:xfrm>
              <a:prstGeom prst="ellipse">
                <a:avLst/>
              </a:prstGeom>
              <a:solidFill>
                <a:srgbClr val="29A3FF"/>
              </a:solidFill>
              <a:ln w="15875" cap="rnd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</p:grpSp>
        <p:sp>
          <p:nvSpPr>
            <p:cNvPr id="800" name="Shape 800"/>
            <p:cNvSpPr/>
            <p:nvPr/>
          </p:nvSpPr>
          <p:spPr>
            <a:xfrm>
              <a:off x="6979207" y="1445532"/>
              <a:ext cx="4645250" cy="4783356"/>
            </a:xfrm>
            <a:prstGeom prst="roundRect">
              <a:avLst>
                <a:gd name="adj" fmla="val 1831"/>
              </a:avLst>
            </a:prstGeom>
            <a:solidFill>
              <a:schemeClr val="lt1"/>
            </a:solidFill>
            <a:ln w="9525" cap="flat" cmpd="sng">
              <a:solidFill>
                <a:srgbClr val="BFBFB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182875" rIns="91425" bIns="45700" anchor="t" anchorCtr="0">
              <a:noAutofit/>
            </a:bodyPr>
            <a:lstStyle/>
            <a:p>
              <a:pPr marL="342900" marR="0" lvl="1" indent="-342900" algn="l" rtl="0">
                <a:spcBef>
                  <a:spcPts val="600"/>
                </a:spcBef>
                <a:buClr>
                  <a:schemeClr val="accent1"/>
                </a:buClr>
                <a:buFont typeface="Noto Sans Symbols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801" name="Shape 801"/>
            <p:cNvSpPr/>
            <p:nvPr/>
          </p:nvSpPr>
          <p:spPr>
            <a:xfrm>
              <a:off x="7536064" y="822495"/>
              <a:ext cx="4060245" cy="556796"/>
            </a:xfrm>
            <a:prstGeom prst="roundRect">
              <a:avLst>
                <a:gd name="adj" fmla="val 13209"/>
              </a:avLst>
            </a:prstGeom>
            <a:solidFill>
              <a:srgbClr val="29A3FF"/>
            </a:solidFill>
            <a:ln w="15875" cap="rnd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799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lIns="5486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2000" b="1" cap="small" dirty="0" smtClean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ATAM</a:t>
              </a:r>
              <a:endParaRPr lang="fr-CA" sz="2000" b="1" cap="small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aphicFrame>
        <p:nvGraphicFramePr>
          <p:cNvPr id="34" name="Tableau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448706"/>
              </p:ext>
            </p:extLst>
          </p:nvPr>
        </p:nvGraphicFramePr>
        <p:xfrm>
          <a:off x="164897" y="4607042"/>
          <a:ext cx="4426154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26154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800" b="0" i="0" u="none" strike="noStrike" cap="none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Population : 654</a:t>
                      </a:r>
                      <a:r>
                        <a:rPr lang="fr-CA" sz="1800" b="0" i="0" u="none" strike="noStrike" cap="none" baseline="0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981 </a:t>
                      </a:r>
                      <a:r>
                        <a:rPr lang="fr-CA" sz="1800" b="0" i="0" u="none" strike="noStrike" cap="none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habitant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5" name="Tableau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0311634"/>
              </p:ext>
            </p:extLst>
          </p:nvPr>
        </p:nvGraphicFramePr>
        <p:xfrm>
          <a:off x="0" y="6276199"/>
          <a:ext cx="4460021" cy="51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0021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CA" sz="1400" dirty="0" smtClean="0">
                          <a:solidFill>
                            <a:schemeClr val="tx1"/>
                          </a:solidFill>
                        </a:rPr>
                        <a:t>Tourisme – Agriculture – Élevage - Commerce</a:t>
                      </a:r>
                      <a:r>
                        <a:rPr lang="fr-CA" sz="1400" baseline="0" dirty="0" smtClean="0">
                          <a:solidFill>
                            <a:schemeClr val="tx1"/>
                          </a:solidFill>
                        </a:rPr>
                        <a:t> – Culture </a:t>
                      </a:r>
                      <a:endParaRPr lang="fr-CA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6" name="Tableau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2089546"/>
              </p:ext>
            </p:extLst>
          </p:nvPr>
        </p:nvGraphicFramePr>
        <p:xfrm>
          <a:off x="4642786" y="959413"/>
          <a:ext cx="7410152" cy="8578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060"/>
                <a:gridCol w="4958092"/>
              </a:tblGrid>
              <a:tr h="316230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TURE DE L’AÉRODROME</a:t>
                      </a:r>
                      <a:endParaRPr lang="fr-CA" sz="11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29A3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dirty="0">
                          <a:effectLst/>
                          <a:latin typeface="Century Gothic" panose="020B0502020202020204" pitchFamily="34" charset="0"/>
                        </a:rPr>
                        <a:t>Type d’aéroport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I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nternational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70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dirty="0">
                          <a:effectLst/>
                          <a:latin typeface="Century Gothic" panose="020B0502020202020204" pitchFamily="34" charset="0"/>
                        </a:rPr>
                        <a:t>Trafic passagers en </a:t>
                      </a: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2016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1100" dirty="0" smtClean="0">
                          <a:latin typeface="Century Gothic" panose="020B0502020202020204" pitchFamily="34" charset="0"/>
                        </a:rPr>
                        <a:t>-</a:t>
                      </a:r>
                      <a:r>
                        <a:rPr lang="fr-CA" sz="1100" baseline="0" dirty="0" smtClean="0">
                          <a:latin typeface="Century Gothic" panose="020B0502020202020204" pitchFamily="34" charset="0"/>
                        </a:rPr>
                        <a:t> </a:t>
                      </a:r>
                      <a:endParaRPr lang="fr-CA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7" name="Tableau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0504617"/>
              </p:ext>
            </p:extLst>
          </p:nvPr>
        </p:nvGraphicFramePr>
        <p:xfrm>
          <a:off x="4642787" y="2154474"/>
          <a:ext cx="7410151" cy="4494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9631"/>
                <a:gridCol w="2629006"/>
                <a:gridCol w="2771514"/>
              </a:tblGrid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ÉTAT DES LIEUX</a:t>
                      </a:r>
                      <a:endParaRPr lang="fr-CA" sz="11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>
                    <a:solidFill>
                      <a:srgbClr val="29A3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NSISTANCE DES TRAVAUX</a:t>
                      </a:r>
                      <a:endParaRPr lang="fr-CA" sz="11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>
                    <a:solidFill>
                      <a:srgbClr val="29A3FF"/>
                    </a:solidFill>
                  </a:tcPr>
                </a:tc>
              </a:tr>
              <a:tr h="283440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PISTE 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1700 x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30 en bitume 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2300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x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396376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CLÔTURE DE L’EMPRISE</a:t>
                      </a:r>
                      <a:r>
                        <a:rPr lang="fr-CA" sz="1100" b="1" baseline="0" dirty="0" smtClean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ÉROPORTUAIRE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371475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Quasi-inexist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Reconstruction avec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2 sorties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de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secour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ÉROGARE + SALON VIP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Né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1800m2</a:t>
                      </a:r>
                      <a:r>
                        <a:rPr lang="fr-CA" sz="1100" baseline="0" dirty="0" smtClean="0">
                          <a:effectLst/>
                          <a:latin typeface="Century Gothic" panose="020B0502020202020204" pitchFamily="34" charset="0"/>
                        </a:rPr>
                        <a:t> + salon VIP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170504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SSLI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Né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iveau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IRE DE STATIONNEMENT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Dégradé en parti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A réhabilit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ÉQUIPEMENTS DE N/A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é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VOR 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BÂTIMENTS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A réfectionn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Reconstruction et équipement des bâtiment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170504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STATION MÉTÉO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Obsolèt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ouvelle station météo équipé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SSISTANCE AU SOL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Rudimentaire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Équipement des services d’assistance au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sol + véhicules aéroportuaire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371475" lvl="1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CENTRALE ÉNERGÉTIQUE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é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140 </a:t>
                      </a:r>
                      <a:r>
                        <a:rPr lang="fr-CA" sz="110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 + 180 </a:t>
                      </a:r>
                      <a:r>
                        <a:rPr lang="fr-CA" sz="1100" baseline="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512310"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ÉPÔT ET FOURNITURE CARBURANT</a:t>
                      </a:r>
                      <a:endParaRPr lang="fr-CA" sz="1100" b="1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éant</a:t>
                      </a: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on prévu</a:t>
                      </a: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02677"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OBJECTIF </a:t>
                      </a: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Mise</a:t>
                      </a:r>
                      <a:r>
                        <a:rPr lang="fr-CA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aux normes </a:t>
                      </a:r>
                      <a:endParaRPr lang="fr-CA" sz="1100" kern="1200" dirty="0" smtClean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02677"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OÛT ESTIMÉ</a:t>
                      </a:r>
                      <a:endParaRPr lang="fr-CA" sz="1100" b="1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400" b="1" kern="1200" baseline="0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5 000 000 000 F CFA</a:t>
                      </a:r>
                      <a:endParaRPr lang="fr-CA" sz="1400" b="1" kern="1200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pic>
        <p:nvPicPr>
          <p:cNvPr id="38" name="Shape 839" descr="Résultat de recherche d'images pour &quot;matam agriculture&quot;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04640" y="5201898"/>
            <a:ext cx="1486086" cy="990492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Shape 840" descr="Résultat de recherche d'images pour &quot;matam fleuve&quot;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173493" y="5201898"/>
            <a:ext cx="1572508" cy="98780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0" name="Shape 811"/>
          <p:cNvGrpSpPr/>
          <p:nvPr/>
        </p:nvGrpSpPr>
        <p:grpSpPr>
          <a:xfrm>
            <a:off x="242235" y="1111841"/>
            <a:ext cx="3810772" cy="3142139"/>
            <a:chOff x="828782" y="1032186"/>
            <a:chExt cx="6465603" cy="5127995"/>
          </a:xfrm>
        </p:grpSpPr>
        <p:grpSp>
          <p:nvGrpSpPr>
            <p:cNvPr id="41" name="Shape 812"/>
            <p:cNvGrpSpPr/>
            <p:nvPr/>
          </p:nvGrpSpPr>
          <p:grpSpPr>
            <a:xfrm>
              <a:off x="828782" y="1032186"/>
              <a:ext cx="6465603" cy="5127995"/>
              <a:chOff x="849596" y="1025155"/>
              <a:chExt cx="5866523" cy="4406062"/>
            </a:xfrm>
          </p:grpSpPr>
          <p:grpSp>
            <p:nvGrpSpPr>
              <p:cNvPr id="43" name="Shape 813"/>
              <p:cNvGrpSpPr/>
              <p:nvPr/>
            </p:nvGrpSpPr>
            <p:grpSpPr>
              <a:xfrm>
                <a:off x="849596" y="1025155"/>
                <a:ext cx="5866523" cy="4406062"/>
                <a:chOff x="1537340" y="1223262"/>
                <a:chExt cx="5973634" cy="4486512"/>
              </a:xfrm>
            </p:grpSpPr>
            <p:sp>
              <p:nvSpPr>
                <p:cNvPr id="47" name="Shape 814"/>
                <p:cNvSpPr/>
                <p:nvPr/>
              </p:nvSpPr>
              <p:spPr>
                <a:xfrm>
                  <a:off x="2614939" y="1223262"/>
                  <a:ext cx="2692139" cy="95218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714" y="102000"/>
                      </a:moveTo>
                      <a:lnTo>
                        <a:pt x="9795" y="103333"/>
                      </a:lnTo>
                      <a:lnTo>
                        <a:pt x="13959" y="102666"/>
                      </a:lnTo>
                      <a:lnTo>
                        <a:pt x="17632" y="89333"/>
                      </a:lnTo>
                      <a:lnTo>
                        <a:pt x="21551" y="81333"/>
                      </a:lnTo>
                      <a:lnTo>
                        <a:pt x="24979" y="68000"/>
                      </a:lnTo>
                      <a:lnTo>
                        <a:pt x="30122" y="62000"/>
                      </a:lnTo>
                      <a:lnTo>
                        <a:pt x="34775" y="61333"/>
                      </a:lnTo>
                      <a:lnTo>
                        <a:pt x="36734" y="58000"/>
                      </a:lnTo>
                      <a:lnTo>
                        <a:pt x="42122" y="78000"/>
                      </a:lnTo>
                      <a:lnTo>
                        <a:pt x="43591" y="80666"/>
                      </a:lnTo>
                      <a:lnTo>
                        <a:pt x="55836" y="76000"/>
                      </a:lnTo>
                      <a:lnTo>
                        <a:pt x="68326" y="76666"/>
                      </a:lnTo>
                      <a:lnTo>
                        <a:pt x="75183" y="80000"/>
                      </a:lnTo>
                      <a:lnTo>
                        <a:pt x="78612" y="87333"/>
                      </a:lnTo>
                      <a:lnTo>
                        <a:pt x="86448" y="84000"/>
                      </a:lnTo>
                      <a:lnTo>
                        <a:pt x="88897" y="92666"/>
                      </a:lnTo>
                      <a:lnTo>
                        <a:pt x="90612" y="120000"/>
                      </a:lnTo>
                      <a:lnTo>
                        <a:pt x="108979" y="81333"/>
                      </a:lnTo>
                      <a:lnTo>
                        <a:pt x="120000" y="61333"/>
                      </a:lnTo>
                      <a:lnTo>
                        <a:pt x="117795" y="50000"/>
                      </a:lnTo>
                      <a:lnTo>
                        <a:pt x="115102" y="52000"/>
                      </a:lnTo>
                      <a:lnTo>
                        <a:pt x="112163" y="48666"/>
                      </a:lnTo>
                      <a:lnTo>
                        <a:pt x="112408" y="41333"/>
                      </a:lnTo>
                      <a:lnTo>
                        <a:pt x="109959" y="34666"/>
                      </a:lnTo>
                      <a:lnTo>
                        <a:pt x="105061" y="24666"/>
                      </a:lnTo>
                      <a:lnTo>
                        <a:pt x="103591" y="22000"/>
                      </a:lnTo>
                      <a:lnTo>
                        <a:pt x="102122" y="16000"/>
                      </a:lnTo>
                      <a:lnTo>
                        <a:pt x="100653" y="20000"/>
                      </a:lnTo>
                      <a:lnTo>
                        <a:pt x="98938" y="13333"/>
                      </a:lnTo>
                      <a:lnTo>
                        <a:pt x="96489" y="12666"/>
                      </a:lnTo>
                      <a:lnTo>
                        <a:pt x="91836" y="8666"/>
                      </a:lnTo>
                      <a:lnTo>
                        <a:pt x="89142" y="10666"/>
                      </a:lnTo>
                      <a:lnTo>
                        <a:pt x="82285" y="8000"/>
                      </a:lnTo>
                      <a:lnTo>
                        <a:pt x="74448" y="4000"/>
                      </a:lnTo>
                      <a:lnTo>
                        <a:pt x="71510" y="1333"/>
                      </a:lnTo>
                      <a:lnTo>
                        <a:pt x="69306" y="0"/>
                      </a:lnTo>
                      <a:lnTo>
                        <a:pt x="68081" y="5333"/>
                      </a:lnTo>
                      <a:lnTo>
                        <a:pt x="63918" y="6000"/>
                      </a:lnTo>
                      <a:lnTo>
                        <a:pt x="63918" y="11333"/>
                      </a:lnTo>
                      <a:lnTo>
                        <a:pt x="61959" y="10000"/>
                      </a:lnTo>
                      <a:lnTo>
                        <a:pt x="58040" y="10000"/>
                      </a:lnTo>
                      <a:lnTo>
                        <a:pt x="55836" y="11333"/>
                      </a:lnTo>
                      <a:lnTo>
                        <a:pt x="51428" y="18000"/>
                      </a:lnTo>
                      <a:lnTo>
                        <a:pt x="48489" y="13333"/>
                      </a:lnTo>
                      <a:lnTo>
                        <a:pt x="46285" y="13333"/>
                      </a:lnTo>
                      <a:lnTo>
                        <a:pt x="42367" y="18000"/>
                      </a:lnTo>
                      <a:lnTo>
                        <a:pt x="39673" y="23333"/>
                      </a:lnTo>
                      <a:lnTo>
                        <a:pt x="35510" y="20000"/>
                      </a:lnTo>
                      <a:lnTo>
                        <a:pt x="32816" y="18000"/>
                      </a:lnTo>
                      <a:lnTo>
                        <a:pt x="30857" y="18000"/>
                      </a:lnTo>
                      <a:lnTo>
                        <a:pt x="28163" y="17333"/>
                      </a:lnTo>
                      <a:lnTo>
                        <a:pt x="25714" y="19333"/>
                      </a:lnTo>
                      <a:lnTo>
                        <a:pt x="24734" y="16000"/>
                      </a:lnTo>
                      <a:lnTo>
                        <a:pt x="24000" y="10000"/>
                      </a:lnTo>
                      <a:lnTo>
                        <a:pt x="20326" y="12000"/>
                      </a:lnTo>
                      <a:lnTo>
                        <a:pt x="18367" y="13333"/>
                      </a:lnTo>
                      <a:lnTo>
                        <a:pt x="15673" y="16000"/>
                      </a:lnTo>
                      <a:lnTo>
                        <a:pt x="15673" y="22000"/>
                      </a:lnTo>
                      <a:lnTo>
                        <a:pt x="12244" y="32666"/>
                      </a:lnTo>
                      <a:lnTo>
                        <a:pt x="10285" y="38666"/>
                      </a:lnTo>
                      <a:lnTo>
                        <a:pt x="7346" y="43333"/>
                      </a:lnTo>
                      <a:lnTo>
                        <a:pt x="7102" y="50000"/>
                      </a:lnTo>
                      <a:lnTo>
                        <a:pt x="7102" y="57333"/>
                      </a:lnTo>
                      <a:lnTo>
                        <a:pt x="6122" y="61333"/>
                      </a:lnTo>
                      <a:lnTo>
                        <a:pt x="3428" y="65333"/>
                      </a:lnTo>
                      <a:lnTo>
                        <a:pt x="1469" y="68666"/>
                      </a:lnTo>
                      <a:lnTo>
                        <a:pt x="0" y="74000"/>
                      </a:lnTo>
                      <a:lnTo>
                        <a:pt x="244" y="88666"/>
                      </a:lnTo>
                      <a:lnTo>
                        <a:pt x="1959" y="80000"/>
                      </a:lnTo>
                      <a:lnTo>
                        <a:pt x="3183" y="74666"/>
                      </a:lnTo>
                      <a:lnTo>
                        <a:pt x="3183" y="84666"/>
                      </a:lnTo>
                      <a:lnTo>
                        <a:pt x="1714" y="88000"/>
                      </a:lnTo>
                      <a:lnTo>
                        <a:pt x="2448" y="94000"/>
                      </a:lnTo>
                      <a:lnTo>
                        <a:pt x="1714" y="10200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48" name="Shape 815"/>
                <p:cNvSpPr/>
                <p:nvPr/>
              </p:nvSpPr>
              <p:spPr>
                <a:xfrm>
                  <a:off x="2372450" y="1668290"/>
                  <a:ext cx="2477862" cy="16081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5055" y="48947"/>
                      </a:moveTo>
                      <a:lnTo>
                        <a:pt x="8248" y="41052"/>
                      </a:lnTo>
                      <a:lnTo>
                        <a:pt x="9312" y="36315"/>
                      </a:lnTo>
                      <a:lnTo>
                        <a:pt x="13569" y="25657"/>
                      </a:lnTo>
                      <a:lnTo>
                        <a:pt x="27937" y="26447"/>
                      </a:lnTo>
                      <a:lnTo>
                        <a:pt x="30066" y="20526"/>
                      </a:lnTo>
                      <a:lnTo>
                        <a:pt x="35121" y="14605"/>
                      </a:lnTo>
                      <a:lnTo>
                        <a:pt x="39113" y="7500"/>
                      </a:lnTo>
                      <a:lnTo>
                        <a:pt x="42572" y="2763"/>
                      </a:lnTo>
                      <a:lnTo>
                        <a:pt x="48159" y="2368"/>
                      </a:lnTo>
                      <a:lnTo>
                        <a:pt x="51618" y="0"/>
                      </a:lnTo>
                      <a:lnTo>
                        <a:pt x="57738" y="11447"/>
                      </a:lnTo>
                      <a:lnTo>
                        <a:pt x="61197" y="12631"/>
                      </a:lnTo>
                      <a:lnTo>
                        <a:pt x="77427" y="9868"/>
                      </a:lnTo>
                      <a:lnTo>
                        <a:pt x="93126" y="11842"/>
                      </a:lnTo>
                      <a:lnTo>
                        <a:pt x="97383" y="17368"/>
                      </a:lnTo>
                      <a:lnTo>
                        <a:pt x="105365" y="15000"/>
                      </a:lnTo>
                      <a:lnTo>
                        <a:pt x="108292" y="18947"/>
                      </a:lnTo>
                      <a:lnTo>
                        <a:pt x="110155" y="35131"/>
                      </a:lnTo>
                      <a:lnTo>
                        <a:pt x="111219" y="48157"/>
                      </a:lnTo>
                      <a:lnTo>
                        <a:pt x="108558" y="53684"/>
                      </a:lnTo>
                      <a:lnTo>
                        <a:pt x="105898" y="56052"/>
                      </a:lnTo>
                      <a:lnTo>
                        <a:pt x="103769" y="65921"/>
                      </a:lnTo>
                      <a:lnTo>
                        <a:pt x="102172" y="78947"/>
                      </a:lnTo>
                      <a:lnTo>
                        <a:pt x="104301" y="83684"/>
                      </a:lnTo>
                      <a:lnTo>
                        <a:pt x="108026" y="84078"/>
                      </a:lnTo>
                      <a:lnTo>
                        <a:pt x="112815" y="88026"/>
                      </a:lnTo>
                      <a:lnTo>
                        <a:pt x="118137" y="93947"/>
                      </a:lnTo>
                      <a:lnTo>
                        <a:pt x="120000" y="99078"/>
                      </a:lnTo>
                      <a:lnTo>
                        <a:pt x="114944" y="105394"/>
                      </a:lnTo>
                      <a:lnTo>
                        <a:pt x="110953" y="112500"/>
                      </a:lnTo>
                      <a:lnTo>
                        <a:pt x="107228" y="118421"/>
                      </a:lnTo>
                      <a:lnTo>
                        <a:pt x="103769" y="120000"/>
                      </a:lnTo>
                      <a:lnTo>
                        <a:pt x="101906" y="117236"/>
                      </a:lnTo>
                      <a:lnTo>
                        <a:pt x="98181" y="115657"/>
                      </a:lnTo>
                      <a:lnTo>
                        <a:pt x="92328" y="114473"/>
                      </a:lnTo>
                      <a:lnTo>
                        <a:pt x="88070" y="114473"/>
                      </a:lnTo>
                      <a:lnTo>
                        <a:pt x="84345" y="109736"/>
                      </a:lnTo>
                      <a:lnTo>
                        <a:pt x="82483" y="106973"/>
                      </a:lnTo>
                      <a:lnTo>
                        <a:pt x="80620" y="108157"/>
                      </a:lnTo>
                      <a:lnTo>
                        <a:pt x="77427" y="112500"/>
                      </a:lnTo>
                      <a:lnTo>
                        <a:pt x="72904" y="117236"/>
                      </a:lnTo>
                      <a:lnTo>
                        <a:pt x="66518" y="112500"/>
                      </a:lnTo>
                      <a:lnTo>
                        <a:pt x="62261" y="106578"/>
                      </a:lnTo>
                      <a:lnTo>
                        <a:pt x="61729" y="101842"/>
                      </a:lnTo>
                      <a:lnTo>
                        <a:pt x="61463" y="98289"/>
                      </a:lnTo>
                      <a:lnTo>
                        <a:pt x="59068" y="98684"/>
                      </a:lnTo>
                      <a:lnTo>
                        <a:pt x="57472" y="99473"/>
                      </a:lnTo>
                      <a:lnTo>
                        <a:pt x="55343" y="96315"/>
                      </a:lnTo>
                      <a:lnTo>
                        <a:pt x="52150" y="96315"/>
                      </a:lnTo>
                      <a:lnTo>
                        <a:pt x="50022" y="98289"/>
                      </a:lnTo>
                      <a:lnTo>
                        <a:pt x="44700" y="96710"/>
                      </a:lnTo>
                      <a:lnTo>
                        <a:pt x="36984" y="95131"/>
                      </a:lnTo>
                      <a:lnTo>
                        <a:pt x="31396" y="94342"/>
                      </a:lnTo>
                      <a:lnTo>
                        <a:pt x="31130" y="88026"/>
                      </a:lnTo>
                      <a:lnTo>
                        <a:pt x="31396" y="77368"/>
                      </a:lnTo>
                      <a:lnTo>
                        <a:pt x="29534" y="75789"/>
                      </a:lnTo>
                      <a:lnTo>
                        <a:pt x="26341" y="72631"/>
                      </a:lnTo>
                      <a:lnTo>
                        <a:pt x="23680" y="69868"/>
                      </a:lnTo>
                      <a:lnTo>
                        <a:pt x="22084" y="64736"/>
                      </a:lnTo>
                      <a:lnTo>
                        <a:pt x="21019" y="60789"/>
                      </a:lnTo>
                      <a:lnTo>
                        <a:pt x="18093" y="65131"/>
                      </a:lnTo>
                      <a:lnTo>
                        <a:pt x="14634" y="68684"/>
                      </a:lnTo>
                      <a:lnTo>
                        <a:pt x="10643" y="75000"/>
                      </a:lnTo>
                      <a:lnTo>
                        <a:pt x="8514" y="76578"/>
                      </a:lnTo>
                      <a:lnTo>
                        <a:pt x="1862" y="70657"/>
                      </a:lnTo>
                      <a:lnTo>
                        <a:pt x="0" y="68289"/>
                      </a:lnTo>
                      <a:lnTo>
                        <a:pt x="5853" y="54473"/>
                      </a:lnTo>
                      <a:lnTo>
                        <a:pt x="5055" y="48947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49" name="Shape 816"/>
                <p:cNvSpPr/>
                <p:nvPr/>
              </p:nvSpPr>
              <p:spPr>
                <a:xfrm>
                  <a:off x="4467214" y="1662998"/>
                  <a:ext cx="1889989" cy="19361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0465" y="30163"/>
                      </a:moveTo>
                      <a:lnTo>
                        <a:pt x="53023" y="1967"/>
                      </a:lnTo>
                      <a:lnTo>
                        <a:pt x="55813" y="1967"/>
                      </a:lnTo>
                      <a:lnTo>
                        <a:pt x="58953" y="0"/>
                      </a:lnTo>
                      <a:lnTo>
                        <a:pt x="63837" y="1639"/>
                      </a:lnTo>
                      <a:lnTo>
                        <a:pt x="68023" y="655"/>
                      </a:lnTo>
                      <a:lnTo>
                        <a:pt x="73255" y="3278"/>
                      </a:lnTo>
                      <a:lnTo>
                        <a:pt x="73604" y="6229"/>
                      </a:lnTo>
                      <a:lnTo>
                        <a:pt x="78837" y="7868"/>
                      </a:lnTo>
                      <a:lnTo>
                        <a:pt x="82674" y="12786"/>
                      </a:lnTo>
                      <a:lnTo>
                        <a:pt x="83023" y="18360"/>
                      </a:lnTo>
                      <a:lnTo>
                        <a:pt x="84767" y="22950"/>
                      </a:lnTo>
                      <a:lnTo>
                        <a:pt x="85465" y="27540"/>
                      </a:lnTo>
                      <a:lnTo>
                        <a:pt x="86860" y="31147"/>
                      </a:lnTo>
                      <a:lnTo>
                        <a:pt x="87906" y="36721"/>
                      </a:lnTo>
                      <a:lnTo>
                        <a:pt x="90697" y="39016"/>
                      </a:lnTo>
                      <a:lnTo>
                        <a:pt x="93488" y="40327"/>
                      </a:lnTo>
                      <a:lnTo>
                        <a:pt x="94186" y="43934"/>
                      </a:lnTo>
                      <a:lnTo>
                        <a:pt x="94186" y="46885"/>
                      </a:lnTo>
                      <a:lnTo>
                        <a:pt x="104302" y="45901"/>
                      </a:lnTo>
                      <a:lnTo>
                        <a:pt x="105697" y="52786"/>
                      </a:lnTo>
                      <a:lnTo>
                        <a:pt x="103953" y="56065"/>
                      </a:lnTo>
                      <a:lnTo>
                        <a:pt x="105000" y="59672"/>
                      </a:lnTo>
                      <a:lnTo>
                        <a:pt x="108488" y="62622"/>
                      </a:lnTo>
                      <a:lnTo>
                        <a:pt x="109883" y="65901"/>
                      </a:lnTo>
                      <a:lnTo>
                        <a:pt x="112674" y="69180"/>
                      </a:lnTo>
                      <a:lnTo>
                        <a:pt x="118604" y="72786"/>
                      </a:lnTo>
                      <a:lnTo>
                        <a:pt x="117209" y="75737"/>
                      </a:lnTo>
                      <a:lnTo>
                        <a:pt x="117558" y="83606"/>
                      </a:lnTo>
                      <a:lnTo>
                        <a:pt x="120000" y="88196"/>
                      </a:lnTo>
                      <a:lnTo>
                        <a:pt x="119651" y="91803"/>
                      </a:lnTo>
                      <a:lnTo>
                        <a:pt x="114069" y="99672"/>
                      </a:lnTo>
                      <a:lnTo>
                        <a:pt x="106395" y="105573"/>
                      </a:lnTo>
                      <a:lnTo>
                        <a:pt x="102906" y="105245"/>
                      </a:lnTo>
                      <a:lnTo>
                        <a:pt x="88604" y="103278"/>
                      </a:lnTo>
                      <a:lnTo>
                        <a:pt x="85465" y="104590"/>
                      </a:lnTo>
                      <a:lnTo>
                        <a:pt x="78488" y="115081"/>
                      </a:lnTo>
                      <a:lnTo>
                        <a:pt x="75697" y="116721"/>
                      </a:lnTo>
                      <a:lnTo>
                        <a:pt x="69418" y="120000"/>
                      </a:lnTo>
                      <a:lnTo>
                        <a:pt x="56162" y="117049"/>
                      </a:lnTo>
                      <a:lnTo>
                        <a:pt x="44302" y="111475"/>
                      </a:lnTo>
                      <a:lnTo>
                        <a:pt x="35930" y="105901"/>
                      </a:lnTo>
                      <a:lnTo>
                        <a:pt x="23372" y="97704"/>
                      </a:lnTo>
                      <a:lnTo>
                        <a:pt x="16744" y="92459"/>
                      </a:lnTo>
                      <a:lnTo>
                        <a:pt x="13953" y="91147"/>
                      </a:lnTo>
                      <a:lnTo>
                        <a:pt x="24069" y="82950"/>
                      </a:lnTo>
                      <a:lnTo>
                        <a:pt x="20581" y="78688"/>
                      </a:lnTo>
                      <a:lnTo>
                        <a:pt x="15000" y="73770"/>
                      </a:lnTo>
                      <a:lnTo>
                        <a:pt x="6976" y="70163"/>
                      </a:lnTo>
                      <a:lnTo>
                        <a:pt x="1395" y="68852"/>
                      </a:lnTo>
                      <a:lnTo>
                        <a:pt x="348" y="64918"/>
                      </a:lnTo>
                      <a:lnTo>
                        <a:pt x="0" y="60327"/>
                      </a:lnTo>
                      <a:lnTo>
                        <a:pt x="4186" y="46885"/>
                      </a:lnTo>
                      <a:lnTo>
                        <a:pt x="8720" y="44262"/>
                      </a:lnTo>
                      <a:lnTo>
                        <a:pt x="11162" y="40327"/>
                      </a:lnTo>
                      <a:lnTo>
                        <a:pt x="11511" y="35409"/>
                      </a:lnTo>
                      <a:lnTo>
                        <a:pt x="10465" y="30163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0" name="Shape 817"/>
                <p:cNvSpPr/>
                <p:nvPr/>
              </p:nvSpPr>
              <p:spPr>
                <a:xfrm>
                  <a:off x="4004362" y="2832490"/>
                  <a:ext cx="3133010" cy="260220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8842" y="244"/>
                      </a:moveTo>
                      <a:lnTo>
                        <a:pt x="91157" y="0"/>
                      </a:lnTo>
                      <a:lnTo>
                        <a:pt x="96210" y="4163"/>
                      </a:lnTo>
                      <a:lnTo>
                        <a:pt x="98736" y="6857"/>
                      </a:lnTo>
                      <a:lnTo>
                        <a:pt x="100210" y="10285"/>
                      </a:lnTo>
                      <a:lnTo>
                        <a:pt x="103157" y="12734"/>
                      </a:lnTo>
                      <a:lnTo>
                        <a:pt x="105894" y="14938"/>
                      </a:lnTo>
                      <a:lnTo>
                        <a:pt x="108631" y="18612"/>
                      </a:lnTo>
                      <a:lnTo>
                        <a:pt x="109473" y="22775"/>
                      </a:lnTo>
                      <a:lnTo>
                        <a:pt x="107578" y="25959"/>
                      </a:lnTo>
                      <a:lnTo>
                        <a:pt x="106736" y="28897"/>
                      </a:lnTo>
                      <a:lnTo>
                        <a:pt x="108631" y="32081"/>
                      </a:lnTo>
                      <a:lnTo>
                        <a:pt x="110315" y="35265"/>
                      </a:lnTo>
                      <a:lnTo>
                        <a:pt x="112210" y="36000"/>
                      </a:lnTo>
                      <a:lnTo>
                        <a:pt x="113052" y="42857"/>
                      </a:lnTo>
                      <a:lnTo>
                        <a:pt x="113052" y="45061"/>
                      </a:lnTo>
                      <a:lnTo>
                        <a:pt x="110526" y="51673"/>
                      </a:lnTo>
                      <a:lnTo>
                        <a:pt x="110315" y="54612"/>
                      </a:lnTo>
                      <a:lnTo>
                        <a:pt x="111578" y="57795"/>
                      </a:lnTo>
                      <a:lnTo>
                        <a:pt x="113263" y="60000"/>
                      </a:lnTo>
                      <a:lnTo>
                        <a:pt x="113052" y="64408"/>
                      </a:lnTo>
                      <a:lnTo>
                        <a:pt x="109684" y="69306"/>
                      </a:lnTo>
                      <a:lnTo>
                        <a:pt x="108631" y="71510"/>
                      </a:lnTo>
                      <a:lnTo>
                        <a:pt x="110736" y="72734"/>
                      </a:lnTo>
                      <a:lnTo>
                        <a:pt x="113684" y="75673"/>
                      </a:lnTo>
                      <a:lnTo>
                        <a:pt x="113894" y="77877"/>
                      </a:lnTo>
                      <a:lnTo>
                        <a:pt x="119999" y="82775"/>
                      </a:lnTo>
                      <a:cubicBezTo>
                        <a:pt x="119315" y="83448"/>
                        <a:pt x="118631" y="84122"/>
                        <a:pt x="117894" y="84734"/>
                      </a:cubicBezTo>
                      <a:cubicBezTo>
                        <a:pt x="117526" y="85040"/>
                        <a:pt x="116631" y="85469"/>
                        <a:pt x="116631" y="85469"/>
                      </a:cubicBezTo>
                      <a:lnTo>
                        <a:pt x="114105" y="86204"/>
                      </a:lnTo>
                      <a:cubicBezTo>
                        <a:pt x="113421" y="86632"/>
                        <a:pt x="112631" y="86938"/>
                        <a:pt x="112000" y="87428"/>
                      </a:cubicBezTo>
                      <a:cubicBezTo>
                        <a:pt x="111789" y="87612"/>
                        <a:pt x="111578" y="88163"/>
                        <a:pt x="111578" y="88163"/>
                      </a:cubicBezTo>
                      <a:lnTo>
                        <a:pt x="108421" y="85714"/>
                      </a:lnTo>
                      <a:lnTo>
                        <a:pt x="103157" y="82285"/>
                      </a:lnTo>
                      <a:lnTo>
                        <a:pt x="101263" y="81795"/>
                      </a:lnTo>
                      <a:lnTo>
                        <a:pt x="101052" y="84489"/>
                      </a:lnTo>
                      <a:lnTo>
                        <a:pt x="101684" y="86938"/>
                      </a:lnTo>
                      <a:lnTo>
                        <a:pt x="98947" y="88653"/>
                      </a:lnTo>
                      <a:lnTo>
                        <a:pt x="97894" y="91836"/>
                      </a:lnTo>
                      <a:lnTo>
                        <a:pt x="96210" y="89387"/>
                      </a:lnTo>
                      <a:lnTo>
                        <a:pt x="93263" y="89632"/>
                      </a:lnTo>
                      <a:lnTo>
                        <a:pt x="91578" y="93306"/>
                      </a:lnTo>
                      <a:lnTo>
                        <a:pt x="89473" y="94530"/>
                      </a:lnTo>
                      <a:lnTo>
                        <a:pt x="86736" y="94040"/>
                      </a:lnTo>
                      <a:lnTo>
                        <a:pt x="83368" y="95265"/>
                      </a:lnTo>
                      <a:lnTo>
                        <a:pt x="82526" y="97959"/>
                      </a:lnTo>
                      <a:lnTo>
                        <a:pt x="81473" y="99183"/>
                      </a:lnTo>
                      <a:cubicBezTo>
                        <a:pt x="80000" y="100040"/>
                        <a:pt x="77842" y="100775"/>
                        <a:pt x="77052" y="102612"/>
                      </a:cubicBezTo>
                      <a:lnTo>
                        <a:pt x="73894" y="101387"/>
                      </a:lnTo>
                      <a:lnTo>
                        <a:pt x="72631" y="100163"/>
                      </a:lnTo>
                      <a:lnTo>
                        <a:pt x="70315" y="99428"/>
                      </a:lnTo>
                      <a:lnTo>
                        <a:pt x="68631" y="100163"/>
                      </a:lnTo>
                      <a:lnTo>
                        <a:pt x="66315" y="100653"/>
                      </a:lnTo>
                      <a:lnTo>
                        <a:pt x="64631" y="100653"/>
                      </a:lnTo>
                      <a:lnTo>
                        <a:pt x="62315" y="100163"/>
                      </a:lnTo>
                      <a:lnTo>
                        <a:pt x="60210" y="100897"/>
                      </a:lnTo>
                      <a:lnTo>
                        <a:pt x="61473" y="103591"/>
                      </a:lnTo>
                      <a:lnTo>
                        <a:pt x="62947" y="105306"/>
                      </a:lnTo>
                      <a:lnTo>
                        <a:pt x="62736" y="107020"/>
                      </a:lnTo>
                      <a:lnTo>
                        <a:pt x="62315" y="110204"/>
                      </a:lnTo>
                      <a:lnTo>
                        <a:pt x="64631" y="111183"/>
                      </a:lnTo>
                      <a:lnTo>
                        <a:pt x="64842" y="112653"/>
                      </a:lnTo>
                      <a:lnTo>
                        <a:pt x="65052" y="116816"/>
                      </a:lnTo>
                      <a:lnTo>
                        <a:pt x="62315" y="120000"/>
                      </a:lnTo>
                      <a:lnTo>
                        <a:pt x="54736" y="119265"/>
                      </a:lnTo>
                      <a:lnTo>
                        <a:pt x="50105" y="103346"/>
                      </a:lnTo>
                      <a:lnTo>
                        <a:pt x="45263" y="85469"/>
                      </a:lnTo>
                      <a:lnTo>
                        <a:pt x="44842" y="83755"/>
                      </a:lnTo>
                      <a:lnTo>
                        <a:pt x="43578" y="81551"/>
                      </a:lnTo>
                      <a:lnTo>
                        <a:pt x="42736" y="80081"/>
                      </a:lnTo>
                      <a:cubicBezTo>
                        <a:pt x="42736" y="79163"/>
                        <a:pt x="42736" y="78306"/>
                        <a:pt x="42736" y="77387"/>
                      </a:cubicBezTo>
                      <a:cubicBezTo>
                        <a:pt x="40421" y="76040"/>
                        <a:pt x="41421" y="76163"/>
                        <a:pt x="40000" y="76163"/>
                      </a:cubicBezTo>
                      <a:lnTo>
                        <a:pt x="39368" y="73959"/>
                      </a:lnTo>
                      <a:cubicBezTo>
                        <a:pt x="37315" y="75551"/>
                        <a:pt x="37473" y="74571"/>
                        <a:pt x="37473" y="76163"/>
                      </a:cubicBezTo>
                      <a:lnTo>
                        <a:pt x="34315" y="74938"/>
                      </a:lnTo>
                      <a:lnTo>
                        <a:pt x="32631" y="73469"/>
                      </a:lnTo>
                      <a:lnTo>
                        <a:pt x="30315" y="74204"/>
                      </a:lnTo>
                      <a:lnTo>
                        <a:pt x="25684" y="75428"/>
                      </a:lnTo>
                      <a:lnTo>
                        <a:pt x="20631" y="76408"/>
                      </a:lnTo>
                      <a:lnTo>
                        <a:pt x="16842" y="75918"/>
                      </a:lnTo>
                      <a:lnTo>
                        <a:pt x="14105" y="73714"/>
                      </a:lnTo>
                      <a:lnTo>
                        <a:pt x="12210" y="71755"/>
                      </a:lnTo>
                      <a:lnTo>
                        <a:pt x="10526" y="70775"/>
                      </a:lnTo>
                      <a:lnTo>
                        <a:pt x="6526" y="70775"/>
                      </a:lnTo>
                      <a:lnTo>
                        <a:pt x="3578" y="70285"/>
                      </a:lnTo>
                      <a:lnTo>
                        <a:pt x="842" y="67591"/>
                      </a:lnTo>
                      <a:lnTo>
                        <a:pt x="0" y="64897"/>
                      </a:lnTo>
                      <a:lnTo>
                        <a:pt x="1684" y="61959"/>
                      </a:lnTo>
                      <a:lnTo>
                        <a:pt x="5894" y="59510"/>
                      </a:lnTo>
                      <a:lnTo>
                        <a:pt x="9894" y="56571"/>
                      </a:lnTo>
                      <a:lnTo>
                        <a:pt x="13473" y="51183"/>
                      </a:lnTo>
                      <a:lnTo>
                        <a:pt x="15578" y="45061"/>
                      </a:lnTo>
                      <a:lnTo>
                        <a:pt x="15157" y="39673"/>
                      </a:lnTo>
                      <a:lnTo>
                        <a:pt x="16421" y="35510"/>
                      </a:lnTo>
                      <a:lnTo>
                        <a:pt x="17052" y="33795"/>
                      </a:lnTo>
                      <a:lnTo>
                        <a:pt x="15368" y="32816"/>
                      </a:lnTo>
                      <a:lnTo>
                        <a:pt x="15368" y="29877"/>
                      </a:lnTo>
                      <a:lnTo>
                        <a:pt x="15789" y="27428"/>
                      </a:lnTo>
                      <a:lnTo>
                        <a:pt x="15789" y="25224"/>
                      </a:lnTo>
                      <a:lnTo>
                        <a:pt x="15368" y="22040"/>
                      </a:lnTo>
                      <a:lnTo>
                        <a:pt x="18736" y="20326"/>
                      </a:lnTo>
                      <a:lnTo>
                        <a:pt x="21473" y="18367"/>
                      </a:lnTo>
                      <a:lnTo>
                        <a:pt x="26105" y="13224"/>
                      </a:lnTo>
                      <a:lnTo>
                        <a:pt x="30736" y="16897"/>
                      </a:lnTo>
                      <a:lnTo>
                        <a:pt x="38105" y="23755"/>
                      </a:lnTo>
                      <a:lnTo>
                        <a:pt x="48210" y="31346"/>
                      </a:lnTo>
                      <a:lnTo>
                        <a:pt x="53894" y="33306"/>
                      </a:lnTo>
                      <a:lnTo>
                        <a:pt x="59368" y="34775"/>
                      </a:lnTo>
                      <a:lnTo>
                        <a:pt x="64631" y="30857"/>
                      </a:lnTo>
                      <a:lnTo>
                        <a:pt x="67368" y="26204"/>
                      </a:lnTo>
                      <a:lnTo>
                        <a:pt x="69894" y="22775"/>
                      </a:lnTo>
                      <a:lnTo>
                        <a:pt x="72210" y="22530"/>
                      </a:lnTo>
                      <a:lnTo>
                        <a:pt x="77473" y="23510"/>
                      </a:lnTo>
                      <a:lnTo>
                        <a:pt x="82105" y="24000"/>
                      </a:lnTo>
                      <a:lnTo>
                        <a:pt x="84842" y="20816"/>
                      </a:lnTo>
                      <a:lnTo>
                        <a:pt x="88421" y="17142"/>
                      </a:lnTo>
                      <a:lnTo>
                        <a:pt x="90105" y="11755"/>
                      </a:lnTo>
                      <a:lnTo>
                        <a:pt x="88842" y="7346"/>
                      </a:lnTo>
                      <a:lnTo>
                        <a:pt x="88421" y="2693"/>
                      </a:lnTo>
                      <a:lnTo>
                        <a:pt x="88842" y="244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1" name="Shape 818"/>
                <p:cNvSpPr/>
                <p:nvPr/>
              </p:nvSpPr>
              <p:spPr>
                <a:xfrm>
                  <a:off x="5571539" y="4614762"/>
                  <a:ext cx="1939435" cy="109501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93824" y="8115"/>
                      </a:moveTo>
                      <a:lnTo>
                        <a:pt x="95524" y="17391"/>
                      </a:lnTo>
                      <a:lnTo>
                        <a:pt x="102322" y="13913"/>
                      </a:lnTo>
                      <a:lnTo>
                        <a:pt x="102662" y="6376"/>
                      </a:lnTo>
                      <a:lnTo>
                        <a:pt x="105382" y="6956"/>
                      </a:lnTo>
                      <a:lnTo>
                        <a:pt x="108441" y="13913"/>
                      </a:lnTo>
                      <a:lnTo>
                        <a:pt x="110141" y="20289"/>
                      </a:lnTo>
                      <a:lnTo>
                        <a:pt x="111501" y="26086"/>
                      </a:lnTo>
                      <a:lnTo>
                        <a:pt x="111501" y="32463"/>
                      </a:lnTo>
                      <a:lnTo>
                        <a:pt x="116260" y="35942"/>
                      </a:lnTo>
                      <a:lnTo>
                        <a:pt x="117280" y="42898"/>
                      </a:lnTo>
                      <a:lnTo>
                        <a:pt x="115240" y="50434"/>
                      </a:lnTo>
                      <a:lnTo>
                        <a:pt x="118640" y="51014"/>
                      </a:lnTo>
                      <a:lnTo>
                        <a:pt x="120000" y="53913"/>
                      </a:lnTo>
                      <a:lnTo>
                        <a:pt x="117280" y="58550"/>
                      </a:lnTo>
                      <a:lnTo>
                        <a:pt x="117280" y="67826"/>
                      </a:lnTo>
                      <a:lnTo>
                        <a:pt x="118300" y="75942"/>
                      </a:lnTo>
                      <a:lnTo>
                        <a:pt x="117960" y="79420"/>
                      </a:lnTo>
                      <a:lnTo>
                        <a:pt x="115240" y="77681"/>
                      </a:lnTo>
                      <a:lnTo>
                        <a:pt x="114220" y="84637"/>
                      </a:lnTo>
                      <a:lnTo>
                        <a:pt x="114560" y="92753"/>
                      </a:lnTo>
                      <a:lnTo>
                        <a:pt x="114220" y="96811"/>
                      </a:lnTo>
                      <a:lnTo>
                        <a:pt x="111841" y="99130"/>
                      </a:lnTo>
                      <a:lnTo>
                        <a:pt x="114900" y="103768"/>
                      </a:lnTo>
                      <a:lnTo>
                        <a:pt x="117280" y="109565"/>
                      </a:lnTo>
                      <a:lnTo>
                        <a:pt x="113881" y="114202"/>
                      </a:lnTo>
                      <a:lnTo>
                        <a:pt x="110481" y="113043"/>
                      </a:lnTo>
                      <a:lnTo>
                        <a:pt x="96883" y="115362"/>
                      </a:lnTo>
                      <a:lnTo>
                        <a:pt x="84985" y="116521"/>
                      </a:lnTo>
                      <a:lnTo>
                        <a:pt x="75467" y="115362"/>
                      </a:lnTo>
                      <a:lnTo>
                        <a:pt x="71048" y="111304"/>
                      </a:lnTo>
                      <a:lnTo>
                        <a:pt x="62889" y="114202"/>
                      </a:lnTo>
                      <a:lnTo>
                        <a:pt x="57790" y="119420"/>
                      </a:lnTo>
                      <a:lnTo>
                        <a:pt x="48611" y="120000"/>
                      </a:lnTo>
                      <a:lnTo>
                        <a:pt x="37733" y="115942"/>
                      </a:lnTo>
                      <a:lnTo>
                        <a:pt x="29235" y="111304"/>
                      </a:lnTo>
                      <a:lnTo>
                        <a:pt x="22096" y="103768"/>
                      </a:lnTo>
                      <a:lnTo>
                        <a:pt x="18356" y="107826"/>
                      </a:lnTo>
                      <a:lnTo>
                        <a:pt x="13597" y="110144"/>
                      </a:lnTo>
                      <a:lnTo>
                        <a:pt x="9518" y="106666"/>
                      </a:lnTo>
                      <a:lnTo>
                        <a:pt x="8158" y="97391"/>
                      </a:lnTo>
                      <a:lnTo>
                        <a:pt x="6118" y="93333"/>
                      </a:lnTo>
                      <a:lnTo>
                        <a:pt x="2039" y="88115"/>
                      </a:lnTo>
                      <a:lnTo>
                        <a:pt x="7138" y="82898"/>
                      </a:lnTo>
                      <a:lnTo>
                        <a:pt x="7138" y="69565"/>
                      </a:lnTo>
                      <a:lnTo>
                        <a:pt x="4079" y="66086"/>
                      </a:lnTo>
                      <a:lnTo>
                        <a:pt x="4419" y="56231"/>
                      </a:lnTo>
                      <a:lnTo>
                        <a:pt x="0" y="43478"/>
                      </a:lnTo>
                      <a:lnTo>
                        <a:pt x="6118" y="44057"/>
                      </a:lnTo>
                      <a:lnTo>
                        <a:pt x="11218" y="43478"/>
                      </a:lnTo>
                      <a:lnTo>
                        <a:pt x="17337" y="40000"/>
                      </a:lnTo>
                      <a:lnTo>
                        <a:pt x="25495" y="47536"/>
                      </a:lnTo>
                      <a:lnTo>
                        <a:pt x="27875" y="49855"/>
                      </a:lnTo>
                      <a:lnTo>
                        <a:pt x="30254" y="42898"/>
                      </a:lnTo>
                      <a:lnTo>
                        <a:pt x="35354" y="39420"/>
                      </a:lnTo>
                      <a:lnTo>
                        <a:pt x="38413" y="29565"/>
                      </a:lnTo>
                      <a:lnTo>
                        <a:pt x="43172" y="29565"/>
                      </a:lnTo>
                      <a:lnTo>
                        <a:pt x="46912" y="28985"/>
                      </a:lnTo>
                      <a:lnTo>
                        <a:pt x="49631" y="26086"/>
                      </a:lnTo>
                      <a:lnTo>
                        <a:pt x="53371" y="17971"/>
                      </a:lnTo>
                      <a:lnTo>
                        <a:pt x="58130" y="17391"/>
                      </a:lnTo>
                      <a:lnTo>
                        <a:pt x="61189" y="20869"/>
                      </a:lnTo>
                      <a:lnTo>
                        <a:pt x="64249" y="12173"/>
                      </a:lnTo>
                      <a:lnTo>
                        <a:pt x="66628" y="11594"/>
                      </a:lnTo>
                      <a:lnTo>
                        <a:pt x="66288" y="0"/>
                      </a:lnTo>
                      <a:lnTo>
                        <a:pt x="68668" y="0"/>
                      </a:lnTo>
                      <a:lnTo>
                        <a:pt x="75467" y="6956"/>
                      </a:lnTo>
                      <a:lnTo>
                        <a:pt x="82606" y="14492"/>
                      </a:lnTo>
                      <a:lnTo>
                        <a:pt x="85325" y="9855"/>
                      </a:lnTo>
                      <a:lnTo>
                        <a:pt x="93824" y="8115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2" name="Shape 819"/>
                <p:cNvSpPr/>
                <p:nvPr/>
              </p:nvSpPr>
              <p:spPr>
                <a:xfrm>
                  <a:off x="3548201" y="4408458"/>
                  <a:ext cx="1889989" cy="100508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20000" y="120000"/>
                      </a:moveTo>
                      <a:lnTo>
                        <a:pt x="79883" y="118736"/>
                      </a:lnTo>
                      <a:lnTo>
                        <a:pt x="28255" y="116210"/>
                      </a:lnTo>
                      <a:lnTo>
                        <a:pt x="15348" y="114315"/>
                      </a:lnTo>
                      <a:lnTo>
                        <a:pt x="9069" y="114315"/>
                      </a:lnTo>
                      <a:lnTo>
                        <a:pt x="11511" y="104210"/>
                      </a:lnTo>
                      <a:lnTo>
                        <a:pt x="12558" y="94736"/>
                      </a:lnTo>
                      <a:lnTo>
                        <a:pt x="13604" y="90947"/>
                      </a:lnTo>
                      <a:lnTo>
                        <a:pt x="13604" y="85263"/>
                      </a:lnTo>
                      <a:lnTo>
                        <a:pt x="11162" y="80842"/>
                      </a:lnTo>
                      <a:lnTo>
                        <a:pt x="10813" y="76421"/>
                      </a:lnTo>
                      <a:lnTo>
                        <a:pt x="10465" y="72000"/>
                      </a:lnTo>
                      <a:lnTo>
                        <a:pt x="6976" y="66947"/>
                      </a:lnTo>
                      <a:lnTo>
                        <a:pt x="6976" y="60000"/>
                      </a:lnTo>
                      <a:lnTo>
                        <a:pt x="5930" y="55578"/>
                      </a:lnTo>
                      <a:lnTo>
                        <a:pt x="5232" y="49263"/>
                      </a:lnTo>
                      <a:lnTo>
                        <a:pt x="2790" y="47368"/>
                      </a:lnTo>
                      <a:lnTo>
                        <a:pt x="0" y="42315"/>
                      </a:lnTo>
                      <a:lnTo>
                        <a:pt x="0" y="37894"/>
                      </a:lnTo>
                      <a:lnTo>
                        <a:pt x="1046" y="34105"/>
                      </a:lnTo>
                      <a:lnTo>
                        <a:pt x="697" y="25894"/>
                      </a:lnTo>
                      <a:lnTo>
                        <a:pt x="697" y="20210"/>
                      </a:lnTo>
                      <a:lnTo>
                        <a:pt x="5232" y="18947"/>
                      </a:lnTo>
                      <a:lnTo>
                        <a:pt x="9767" y="14526"/>
                      </a:lnTo>
                      <a:lnTo>
                        <a:pt x="10813" y="6315"/>
                      </a:lnTo>
                      <a:lnTo>
                        <a:pt x="12558" y="1894"/>
                      </a:lnTo>
                      <a:lnTo>
                        <a:pt x="16744" y="0"/>
                      </a:lnTo>
                      <a:lnTo>
                        <a:pt x="18837" y="6315"/>
                      </a:lnTo>
                      <a:lnTo>
                        <a:pt x="19883" y="13263"/>
                      </a:lnTo>
                      <a:lnTo>
                        <a:pt x="23023" y="15157"/>
                      </a:lnTo>
                      <a:lnTo>
                        <a:pt x="28604" y="18947"/>
                      </a:lnTo>
                      <a:lnTo>
                        <a:pt x="35581" y="20842"/>
                      </a:lnTo>
                      <a:lnTo>
                        <a:pt x="40116" y="22105"/>
                      </a:lnTo>
                      <a:lnTo>
                        <a:pt x="45348" y="23368"/>
                      </a:lnTo>
                      <a:lnTo>
                        <a:pt x="50232" y="30947"/>
                      </a:lnTo>
                      <a:lnTo>
                        <a:pt x="54418" y="34736"/>
                      </a:lnTo>
                      <a:lnTo>
                        <a:pt x="58604" y="36000"/>
                      </a:lnTo>
                      <a:lnTo>
                        <a:pt x="65581" y="36631"/>
                      </a:lnTo>
                      <a:lnTo>
                        <a:pt x="73255" y="34736"/>
                      </a:lnTo>
                      <a:lnTo>
                        <a:pt x="80930" y="30315"/>
                      </a:lnTo>
                      <a:lnTo>
                        <a:pt x="85116" y="23368"/>
                      </a:lnTo>
                      <a:lnTo>
                        <a:pt x="89302" y="22736"/>
                      </a:lnTo>
                      <a:lnTo>
                        <a:pt x="93488" y="22105"/>
                      </a:lnTo>
                      <a:lnTo>
                        <a:pt x="97325" y="9473"/>
                      </a:lnTo>
                      <a:lnTo>
                        <a:pt x="101860" y="12631"/>
                      </a:lnTo>
                      <a:lnTo>
                        <a:pt x="101162" y="20210"/>
                      </a:lnTo>
                      <a:lnTo>
                        <a:pt x="103604" y="24000"/>
                      </a:lnTo>
                      <a:lnTo>
                        <a:pt x="110930" y="63157"/>
                      </a:lnTo>
                      <a:lnTo>
                        <a:pt x="120000" y="12000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3" name="Shape 820"/>
                <p:cNvSpPr/>
                <p:nvPr/>
              </p:nvSpPr>
              <p:spPr>
                <a:xfrm>
                  <a:off x="2860688" y="4561862"/>
                  <a:ext cx="906537" cy="102094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20363" y="27979"/>
                      </a:moveTo>
                      <a:lnTo>
                        <a:pt x="36363" y="27357"/>
                      </a:lnTo>
                      <a:lnTo>
                        <a:pt x="40727" y="7461"/>
                      </a:lnTo>
                      <a:lnTo>
                        <a:pt x="61818" y="1865"/>
                      </a:lnTo>
                      <a:lnTo>
                        <a:pt x="76363" y="0"/>
                      </a:lnTo>
                      <a:lnTo>
                        <a:pt x="93090" y="2487"/>
                      </a:lnTo>
                      <a:lnTo>
                        <a:pt x="93818" y="16165"/>
                      </a:lnTo>
                      <a:lnTo>
                        <a:pt x="90181" y="23626"/>
                      </a:lnTo>
                      <a:lnTo>
                        <a:pt x="98181" y="29222"/>
                      </a:lnTo>
                      <a:lnTo>
                        <a:pt x="104000" y="31709"/>
                      </a:lnTo>
                      <a:lnTo>
                        <a:pt x="106181" y="39170"/>
                      </a:lnTo>
                      <a:lnTo>
                        <a:pt x="106909" y="44766"/>
                      </a:lnTo>
                      <a:lnTo>
                        <a:pt x="112000" y="52227"/>
                      </a:lnTo>
                      <a:lnTo>
                        <a:pt x="114909" y="60932"/>
                      </a:lnTo>
                      <a:lnTo>
                        <a:pt x="120000" y="69015"/>
                      </a:lnTo>
                      <a:lnTo>
                        <a:pt x="112000" y="98238"/>
                      </a:lnTo>
                      <a:lnTo>
                        <a:pt x="88000" y="106321"/>
                      </a:lnTo>
                      <a:lnTo>
                        <a:pt x="60363" y="117512"/>
                      </a:lnTo>
                      <a:lnTo>
                        <a:pt x="31272" y="119378"/>
                      </a:lnTo>
                      <a:lnTo>
                        <a:pt x="21818" y="120000"/>
                      </a:lnTo>
                      <a:lnTo>
                        <a:pt x="18181" y="115647"/>
                      </a:lnTo>
                      <a:lnTo>
                        <a:pt x="8000" y="96373"/>
                      </a:lnTo>
                      <a:lnTo>
                        <a:pt x="26909" y="103212"/>
                      </a:lnTo>
                      <a:lnTo>
                        <a:pt x="41454" y="104455"/>
                      </a:lnTo>
                      <a:lnTo>
                        <a:pt x="47272" y="105699"/>
                      </a:lnTo>
                      <a:lnTo>
                        <a:pt x="58181" y="106943"/>
                      </a:lnTo>
                      <a:lnTo>
                        <a:pt x="66181" y="101968"/>
                      </a:lnTo>
                      <a:lnTo>
                        <a:pt x="76363" y="92020"/>
                      </a:lnTo>
                      <a:lnTo>
                        <a:pt x="79272" y="88290"/>
                      </a:lnTo>
                      <a:lnTo>
                        <a:pt x="64727" y="95129"/>
                      </a:lnTo>
                      <a:lnTo>
                        <a:pt x="61818" y="100725"/>
                      </a:lnTo>
                      <a:lnTo>
                        <a:pt x="52363" y="104455"/>
                      </a:lnTo>
                      <a:lnTo>
                        <a:pt x="45818" y="101347"/>
                      </a:lnTo>
                      <a:lnTo>
                        <a:pt x="34909" y="99481"/>
                      </a:lnTo>
                      <a:lnTo>
                        <a:pt x="23272" y="99481"/>
                      </a:lnTo>
                      <a:lnTo>
                        <a:pt x="11636" y="97616"/>
                      </a:lnTo>
                      <a:lnTo>
                        <a:pt x="2181" y="93886"/>
                      </a:lnTo>
                      <a:lnTo>
                        <a:pt x="0" y="88290"/>
                      </a:lnTo>
                      <a:lnTo>
                        <a:pt x="0" y="73989"/>
                      </a:lnTo>
                      <a:lnTo>
                        <a:pt x="5090" y="65906"/>
                      </a:lnTo>
                      <a:lnTo>
                        <a:pt x="5818" y="60310"/>
                      </a:lnTo>
                      <a:lnTo>
                        <a:pt x="14545" y="47253"/>
                      </a:lnTo>
                      <a:lnTo>
                        <a:pt x="18181" y="39170"/>
                      </a:lnTo>
                      <a:lnTo>
                        <a:pt x="13818" y="34196"/>
                      </a:lnTo>
                      <a:lnTo>
                        <a:pt x="20363" y="27979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4" name="Shape 821"/>
                <p:cNvSpPr/>
                <p:nvPr/>
              </p:nvSpPr>
              <p:spPr>
                <a:xfrm>
                  <a:off x="2062659" y="4778750"/>
                  <a:ext cx="957354" cy="87283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17934" y="2545"/>
                      </a:moveTo>
                      <a:lnTo>
                        <a:pt x="32539" y="0"/>
                      </a:lnTo>
                      <a:lnTo>
                        <a:pt x="26513" y="909"/>
                      </a:lnTo>
                      <a:lnTo>
                        <a:pt x="16011" y="4363"/>
                      </a:lnTo>
                      <a:lnTo>
                        <a:pt x="12912" y="7454"/>
                      </a:lnTo>
                      <a:lnTo>
                        <a:pt x="11879" y="17818"/>
                      </a:lnTo>
                      <a:lnTo>
                        <a:pt x="11535" y="32000"/>
                      </a:lnTo>
                      <a:lnTo>
                        <a:pt x="7230" y="40363"/>
                      </a:lnTo>
                      <a:lnTo>
                        <a:pt x="3615" y="56000"/>
                      </a:lnTo>
                      <a:lnTo>
                        <a:pt x="2582" y="58181"/>
                      </a:lnTo>
                      <a:lnTo>
                        <a:pt x="6370" y="60363"/>
                      </a:lnTo>
                      <a:lnTo>
                        <a:pt x="4820" y="66545"/>
                      </a:lnTo>
                      <a:lnTo>
                        <a:pt x="6886" y="68000"/>
                      </a:lnTo>
                      <a:lnTo>
                        <a:pt x="11879" y="64181"/>
                      </a:lnTo>
                      <a:lnTo>
                        <a:pt x="22898" y="72363"/>
                      </a:lnTo>
                      <a:lnTo>
                        <a:pt x="22898" y="75272"/>
                      </a:lnTo>
                      <a:lnTo>
                        <a:pt x="28063" y="71272"/>
                      </a:lnTo>
                      <a:lnTo>
                        <a:pt x="29440" y="78545"/>
                      </a:lnTo>
                      <a:lnTo>
                        <a:pt x="34777" y="80000"/>
                      </a:lnTo>
                      <a:lnTo>
                        <a:pt x="39426" y="75090"/>
                      </a:lnTo>
                      <a:lnTo>
                        <a:pt x="42869" y="76727"/>
                      </a:lnTo>
                      <a:lnTo>
                        <a:pt x="47173" y="84000"/>
                      </a:lnTo>
                      <a:lnTo>
                        <a:pt x="53371" y="87090"/>
                      </a:lnTo>
                      <a:lnTo>
                        <a:pt x="57331" y="81636"/>
                      </a:lnTo>
                      <a:lnTo>
                        <a:pt x="63012" y="80727"/>
                      </a:lnTo>
                      <a:lnTo>
                        <a:pt x="69210" y="83454"/>
                      </a:lnTo>
                      <a:lnTo>
                        <a:pt x="75408" y="84363"/>
                      </a:lnTo>
                      <a:lnTo>
                        <a:pt x="79540" y="86000"/>
                      </a:lnTo>
                      <a:lnTo>
                        <a:pt x="87804" y="86000"/>
                      </a:lnTo>
                      <a:lnTo>
                        <a:pt x="91592" y="83818"/>
                      </a:lnTo>
                      <a:lnTo>
                        <a:pt x="93658" y="83272"/>
                      </a:lnTo>
                      <a:lnTo>
                        <a:pt x="99856" y="81090"/>
                      </a:lnTo>
                      <a:lnTo>
                        <a:pt x="102266" y="84000"/>
                      </a:lnTo>
                      <a:lnTo>
                        <a:pt x="98651" y="86000"/>
                      </a:lnTo>
                      <a:lnTo>
                        <a:pt x="87460" y="89272"/>
                      </a:lnTo>
                      <a:lnTo>
                        <a:pt x="76614" y="89272"/>
                      </a:lnTo>
                      <a:lnTo>
                        <a:pt x="67661" y="89818"/>
                      </a:lnTo>
                      <a:lnTo>
                        <a:pt x="62668" y="89818"/>
                      </a:lnTo>
                      <a:lnTo>
                        <a:pt x="59569" y="87272"/>
                      </a:lnTo>
                      <a:lnTo>
                        <a:pt x="54232" y="89818"/>
                      </a:lnTo>
                      <a:lnTo>
                        <a:pt x="47517" y="89454"/>
                      </a:lnTo>
                      <a:lnTo>
                        <a:pt x="43041" y="87818"/>
                      </a:lnTo>
                      <a:lnTo>
                        <a:pt x="37187" y="87272"/>
                      </a:lnTo>
                      <a:lnTo>
                        <a:pt x="34088" y="88909"/>
                      </a:lnTo>
                      <a:lnTo>
                        <a:pt x="30989" y="88181"/>
                      </a:lnTo>
                      <a:lnTo>
                        <a:pt x="27030" y="84000"/>
                      </a:lnTo>
                      <a:lnTo>
                        <a:pt x="24275" y="80545"/>
                      </a:lnTo>
                      <a:lnTo>
                        <a:pt x="22209" y="82363"/>
                      </a:lnTo>
                      <a:lnTo>
                        <a:pt x="21865" y="87636"/>
                      </a:lnTo>
                      <a:lnTo>
                        <a:pt x="19626" y="90000"/>
                      </a:lnTo>
                      <a:lnTo>
                        <a:pt x="17044" y="90000"/>
                      </a:lnTo>
                      <a:lnTo>
                        <a:pt x="15667" y="92727"/>
                      </a:lnTo>
                      <a:lnTo>
                        <a:pt x="20143" y="98545"/>
                      </a:lnTo>
                      <a:lnTo>
                        <a:pt x="17216" y="100363"/>
                      </a:lnTo>
                      <a:lnTo>
                        <a:pt x="11879" y="98000"/>
                      </a:lnTo>
                      <a:lnTo>
                        <a:pt x="7403" y="95272"/>
                      </a:lnTo>
                      <a:lnTo>
                        <a:pt x="6197" y="90545"/>
                      </a:lnTo>
                      <a:lnTo>
                        <a:pt x="2065" y="94181"/>
                      </a:lnTo>
                      <a:lnTo>
                        <a:pt x="688" y="101272"/>
                      </a:lnTo>
                      <a:lnTo>
                        <a:pt x="688" y="106181"/>
                      </a:lnTo>
                      <a:lnTo>
                        <a:pt x="0" y="110000"/>
                      </a:lnTo>
                      <a:lnTo>
                        <a:pt x="2754" y="111090"/>
                      </a:lnTo>
                      <a:lnTo>
                        <a:pt x="6714" y="115636"/>
                      </a:lnTo>
                      <a:lnTo>
                        <a:pt x="12912" y="120000"/>
                      </a:lnTo>
                      <a:lnTo>
                        <a:pt x="24275" y="118909"/>
                      </a:lnTo>
                      <a:lnTo>
                        <a:pt x="36671" y="118727"/>
                      </a:lnTo>
                      <a:lnTo>
                        <a:pt x="46484" y="118181"/>
                      </a:lnTo>
                      <a:lnTo>
                        <a:pt x="58364" y="114545"/>
                      </a:lnTo>
                      <a:lnTo>
                        <a:pt x="72998" y="110181"/>
                      </a:lnTo>
                      <a:lnTo>
                        <a:pt x="82123" y="107272"/>
                      </a:lnTo>
                      <a:lnTo>
                        <a:pt x="90387" y="105818"/>
                      </a:lnTo>
                      <a:lnTo>
                        <a:pt x="99856" y="105636"/>
                      </a:lnTo>
                      <a:lnTo>
                        <a:pt x="113285" y="110000"/>
                      </a:lnTo>
                      <a:lnTo>
                        <a:pt x="118967" y="110000"/>
                      </a:lnTo>
                      <a:lnTo>
                        <a:pt x="115695" y="100363"/>
                      </a:lnTo>
                      <a:lnTo>
                        <a:pt x="109670" y="84545"/>
                      </a:lnTo>
                      <a:lnTo>
                        <a:pt x="101922" y="80000"/>
                      </a:lnTo>
                      <a:lnTo>
                        <a:pt x="100373" y="70363"/>
                      </a:lnTo>
                      <a:lnTo>
                        <a:pt x="100373" y="59818"/>
                      </a:lnTo>
                      <a:lnTo>
                        <a:pt x="100373" y="54909"/>
                      </a:lnTo>
                      <a:lnTo>
                        <a:pt x="105538" y="46909"/>
                      </a:lnTo>
                      <a:lnTo>
                        <a:pt x="105365" y="40909"/>
                      </a:lnTo>
                      <a:lnTo>
                        <a:pt x="111563" y="27636"/>
                      </a:lnTo>
                      <a:lnTo>
                        <a:pt x="116728" y="16909"/>
                      </a:lnTo>
                      <a:lnTo>
                        <a:pt x="113802" y="9636"/>
                      </a:lnTo>
                      <a:lnTo>
                        <a:pt x="120000" y="2545"/>
                      </a:lnTo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36000" tIns="45700" rIns="36000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5" name="Shape 822"/>
                <p:cNvSpPr/>
                <p:nvPr/>
              </p:nvSpPr>
              <p:spPr>
                <a:xfrm>
                  <a:off x="3224790" y="3096896"/>
                  <a:ext cx="1280137" cy="11532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46094" y="7155"/>
                      </a:moveTo>
                      <a:lnTo>
                        <a:pt x="42746" y="19816"/>
                      </a:lnTo>
                      <a:lnTo>
                        <a:pt x="37339" y="21743"/>
                      </a:lnTo>
                      <a:lnTo>
                        <a:pt x="29613" y="21743"/>
                      </a:lnTo>
                      <a:lnTo>
                        <a:pt x="25236" y="22018"/>
                      </a:lnTo>
                      <a:lnTo>
                        <a:pt x="20600" y="26146"/>
                      </a:lnTo>
                      <a:lnTo>
                        <a:pt x="14420" y="32477"/>
                      </a:lnTo>
                      <a:lnTo>
                        <a:pt x="10300" y="37981"/>
                      </a:lnTo>
                      <a:lnTo>
                        <a:pt x="7982" y="39908"/>
                      </a:lnTo>
                      <a:lnTo>
                        <a:pt x="6952" y="47339"/>
                      </a:lnTo>
                      <a:lnTo>
                        <a:pt x="6952" y="54495"/>
                      </a:lnTo>
                      <a:lnTo>
                        <a:pt x="3862" y="63853"/>
                      </a:lnTo>
                      <a:lnTo>
                        <a:pt x="515" y="70733"/>
                      </a:lnTo>
                      <a:lnTo>
                        <a:pt x="0" y="74311"/>
                      </a:lnTo>
                      <a:lnTo>
                        <a:pt x="3347" y="74587"/>
                      </a:lnTo>
                      <a:lnTo>
                        <a:pt x="4892" y="78165"/>
                      </a:lnTo>
                      <a:lnTo>
                        <a:pt x="11330" y="79816"/>
                      </a:lnTo>
                      <a:lnTo>
                        <a:pt x="11587" y="87522"/>
                      </a:lnTo>
                      <a:lnTo>
                        <a:pt x="19313" y="92201"/>
                      </a:lnTo>
                      <a:lnTo>
                        <a:pt x="21888" y="96055"/>
                      </a:lnTo>
                      <a:lnTo>
                        <a:pt x="21373" y="100733"/>
                      </a:lnTo>
                      <a:lnTo>
                        <a:pt x="19055" y="102935"/>
                      </a:lnTo>
                      <a:lnTo>
                        <a:pt x="22403" y="108440"/>
                      </a:lnTo>
                      <a:lnTo>
                        <a:pt x="26781" y="112293"/>
                      </a:lnTo>
                      <a:lnTo>
                        <a:pt x="29871" y="109541"/>
                      </a:lnTo>
                      <a:lnTo>
                        <a:pt x="31673" y="106238"/>
                      </a:lnTo>
                      <a:lnTo>
                        <a:pt x="36051" y="107339"/>
                      </a:lnTo>
                      <a:lnTo>
                        <a:pt x="40171" y="109266"/>
                      </a:lnTo>
                      <a:lnTo>
                        <a:pt x="44549" y="108990"/>
                      </a:lnTo>
                      <a:lnTo>
                        <a:pt x="49442" y="111467"/>
                      </a:lnTo>
                      <a:lnTo>
                        <a:pt x="50214" y="115871"/>
                      </a:lnTo>
                      <a:lnTo>
                        <a:pt x="50987" y="118073"/>
                      </a:lnTo>
                      <a:lnTo>
                        <a:pt x="55879" y="116422"/>
                      </a:lnTo>
                      <a:lnTo>
                        <a:pt x="60000" y="115321"/>
                      </a:lnTo>
                      <a:lnTo>
                        <a:pt x="62060" y="115596"/>
                      </a:lnTo>
                      <a:lnTo>
                        <a:pt x="67725" y="116697"/>
                      </a:lnTo>
                      <a:lnTo>
                        <a:pt x="75193" y="120000"/>
                      </a:lnTo>
                      <a:lnTo>
                        <a:pt x="75193" y="116697"/>
                      </a:lnTo>
                      <a:lnTo>
                        <a:pt x="79055" y="110917"/>
                      </a:lnTo>
                      <a:lnTo>
                        <a:pt x="90901" y="105137"/>
                      </a:lnTo>
                      <a:lnTo>
                        <a:pt x="100171" y="98532"/>
                      </a:lnTo>
                      <a:lnTo>
                        <a:pt x="107124" y="86422"/>
                      </a:lnTo>
                      <a:lnTo>
                        <a:pt x="112274" y="75412"/>
                      </a:lnTo>
                      <a:lnTo>
                        <a:pt x="112274" y="70183"/>
                      </a:lnTo>
                      <a:lnTo>
                        <a:pt x="111244" y="62201"/>
                      </a:lnTo>
                      <a:lnTo>
                        <a:pt x="115879" y="48165"/>
                      </a:lnTo>
                      <a:lnTo>
                        <a:pt x="112274" y="45688"/>
                      </a:lnTo>
                      <a:lnTo>
                        <a:pt x="111759" y="41559"/>
                      </a:lnTo>
                      <a:lnTo>
                        <a:pt x="113304" y="30825"/>
                      </a:lnTo>
                      <a:lnTo>
                        <a:pt x="112017" y="21467"/>
                      </a:lnTo>
                      <a:lnTo>
                        <a:pt x="120000" y="17889"/>
                      </a:lnTo>
                      <a:lnTo>
                        <a:pt x="117939" y="14587"/>
                      </a:lnTo>
                      <a:lnTo>
                        <a:pt x="113562" y="12385"/>
                      </a:lnTo>
                      <a:lnTo>
                        <a:pt x="101974" y="9908"/>
                      </a:lnTo>
                      <a:lnTo>
                        <a:pt x="91931" y="9357"/>
                      </a:lnTo>
                      <a:lnTo>
                        <a:pt x="88841" y="8807"/>
                      </a:lnTo>
                      <a:lnTo>
                        <a:pt x="84206" y="5504"/>
                      </a:lnTo>
                      <a:lnTo>
                        <a:pt x="79570" y="0"/>
                      </a:lnTo>
                      <a:lnTo>
                        <a:pt x="72618" y="1926"/>
                      </a:lnTo>
                      <a:lnTo>
                        <a:pt x="67467" y="8532"/>
                      </a:lnTo>
                      <a:lnTo>
                        <a:pt x="61802" y="12660"/>
                      </a:lnTo>
                      <a:lnTo>
                        <a:pt x="57939" y="12385"/>
                      </a:lnTo>
                      <a:lnTo>
                        <a:pt x="51502" y="9357"/>
                      </a:lnTo>
                      <a:lnTo>
                        <a:pt x="46094" y="7155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6" name="Shape 823"/>
                <p:cNvSpPr/>
                <p:nvPr/>
              </p:nvSpPr>
              <p:spPr>
                <a:xfrm>
                  <a:off x="2696514" y="3543282"/>
                  <a:ext cx="1082443" cy="84733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20000" y="96894"/>
                      </a:moveTo>
                      <a:lnTo>
                        <a:pt x="114822" y="96521"/>
                      </a:lnTo>
                      <a:lnTo>
                        <a:pt x="106294" y="94658"/>
                      </a:lnTo>
                      <a:lnTo>
                        <a:pt x="99289" y="93913"/>
                      </a:lnTo>
                      <a:lnTo>
                        <a:pt x="94720" y="94658"/>
                      </a:lnTo>
                      <a:lnTo>
                        <a:pt x="90152" y="101739"/>
                      </a:lnTo>
                      <a:lnTo>
                        <a:pt x="87411" y="104347"/>
                      </a:lnTo>
                      <a:lnTo>
                        <a:pt x="84060" y="112546"/>
                      </a:lnTo>
                      <a:lnTo>
                        <a:pt x="80710" y="120000"/>
                      </a:lnTo>
                      <a:lnTo>
                        <a:pt x="71878" y="120000"/>
                      </a:lnTo>
                      <a:lnTo>
                        <a:pt x="58172" y="119627"/>
                      </a:lnTo>
                      <a:lnTo>
                        <a:pt x="34416" y="118509"/>
                      </a:lnTo>
                      <a:lnTo>
                        <a:pt x="33502" y="115527"/>
                      </a:lnTo>
                      <a:lnTo>
                        <a:pt x="31675" y="112919"/>
                      </a:lnTo>
                      <a:lnTo>
                        <a:pt x="27715" y="108074"/>
                      </a:lnTo>
                      <a:lnTo>
                        <a:pt x="26497" y="105465"/>
                      </a:lnTo>
                      <a:lnTo>
                        <a:pt x="24060" y="102111"/>
                      </a:lnTo>
                      <a:lnTo>
                        <a:pt x="22233" y="97267"/>
                      </a:lnTo>
                      <a:lnTo>
                        <a:pt x="20710" y="93167"/>
                      </a:lnTo>
                      <a:lnTo>
                        <a:pt x="18274" y="89813"/>
                      </a:lnTo>
                      <a:lnTo>
                        <a:pt x="15837" y="86832"/>
                      </a:lnTo>
                      <a:lnTo>
                        <a:pt x="15837" y="81242"/>
                      </a:lnTo>
                      <a:lnTo>
                        <a:pt x="18578" y="77142"/>
                      </a:lnTo>
                      <a:lnTo>
                        <a:pt x="20101" y="71552"/>
                      </a:lnTo>
                      <a:lnTo>
                        <a:pt x="20406" y="66708"/>
                      </a:lnTo>
                      <a:lnTo>
                        <a:pt x="18578" y="59254"/>
                      </a:lnTo>
                      <a:lnTo>
                        <a:pt x="15532" y="52173"/>
                      </a:lnTo>
                      <a:lnTo>
                        <a:pt x="16751" y="42857"/>
                      </a:lnTo>
                      <a:lnTo>
                        <a:pt x="15532" y="38385"/>
                      </a:lnTo>
                      <a:lnTo>
                        <a:pt x="11573" y="35403"/>
                      </a:lnTo>
                      <a:lnTo>
                        <a:pt x="7918" y="30931"/>
                      </a:lnTo>
                      <a:lnTo>
                        <a:pt x="13401" y="28695"/>
                      </a:lnTo>
                      <a:lnTo>
                        <a:pt x="15228" y="28322"/>
                      </a:lnTo>
                      <a:lnTo>
                        <a:pt x="11573" y="24968"/>
                      </a:lnTo>
                      <a:lnTo>
                        <a:pt x="7918" y="24596"/>
                      </a:lnTo>
                      <a:lnTo>
                        <a:pt x="2131" y="27950"/>
                      </a:lnTo>
                      <a:lnTo>
                        <a:pt x="0" y="29068"/>
                      </a:lnTo>
                      <a:lnTo>
                        <a:pt x="3045" y="19751"/>
                      </a:lnTo>
                      <a:lnTo>
                        <a:pt x="5482" y="15652"/>
                      </a:lnTo>
                      <a:lnTo>
                        <a:pt x="8527" y="7080"/>
                      </a:lnTo>
                      <a:lnTo>
                        <a:pt x="15532" y="3354"/>
                      </a:lnTo>
                      <a:lnTo>
                        <a:pt x="27715" y="0"/>
                      </a:lnTo>
                      <a:lnTo>
                        <a:pt x="31675" y="1118"/>
                      </a:lnTo>
                      <a:lnTo>
                        <a:pt x="28629" y="8944"/>
                      </a:lnTo>
                      <a:lnTo>
                        <a:pt x="27411" y="17515"/>
                      </a:lnTo>
                      <a:lnTo>
                        <a:pt x="28629" y="24596"/>
                      </a:lnTo>
                      <a:lnTo>
                        <a:pt x="34111" y="32422"/>
                      </a:lnTo>
                      <a:lnTo>
                        <a:pt x="39289" y="39130"/>
                      </a:lnTo>
                      <a:lnTo>
                        <a:pt x="48426" y="41366"/>
                      </a:lnTo>
                      <a:lnTo>
                        <a:pt x="53908" y="38385"/>
                      </a:lnTo>
                      <a:lnTo>
                        <a:pt x="58172" y="36894"/>
                      </a:lnTo>
                      <a:lnTo>
                        <a:pt x="62741" y="37639"/>
                      </a:lnTo>
                      <a:lnTo>
                        <a:pt x="65177" y="41366"/>
                      </a:lnTo>
                      <a:lnTo>
                        <a:pt x="73705" y="44720"/>
                      </a:lnTo>
                      <a:lnTo>
                        <a:pt x="74010" y="55155"/>
                      </a:lnTo>
                      <a:lnTo>
                        <a:pt x="78274" y="58136"/>
                      </a:lnTo>
                      <a:lnTo>
                        <a:pt x="83756" y="62608"/>
                      </a:lnTo>
                      <a:lnTo>
                        <a:pt x="84974" y="69689"/>
                      </a:lnTo>
                      <a:lnTo>
                        <a:pt x="83451" y="74906"/>
                      </a:lnTo>
                      <a:lnTo>
                        <a:pt x="84060" y="79378"/>
                      </a:lnTo>
                      <a:lnTo>
                        <a:pt x="89847" y="87577"/>
                      </a:lnTo>
                      <a:lnTo>
                        <a:pt x="92588" y="89068"/>
                      </a:lnTo>
                      <a:lnTo>
                        <a:pt x="96852" y="81987"/>
                      </a:lnTo>
                      <a:lnTo>
                        <a:pt x="100507" y="80124"/>
                      </a:lnTo>
                      <a:lnTo>
                        <a:pt x="105685" y="84596"/>
                      </a:lnTo>
                      <a:lnTo>
                        <a:pt x="114213" y="84968"/>
                      </a:lnTo>
                      <a:lnTo>
                        <a:pt x="118172" y="88322"/>
                      </a:lnTo>
                      <a:lnTo>
                        <a:pt x="120000" y="96894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7" name="Shape 824"/>
                <p:cNvSpPr/>
                <p:nvPr/>
              </p:nvSpPr>
              <p:spPr>
                <a:xfrm>
                  <a:off x="2202132" y="2956375"/>
                  <a:ext cx="1530126" cy="142177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0" y="69450"/>
                      </a:moveTo>
                      <a:lnTo>
                        <a:pt x="5385" y="67472"/>
                      </a:lnTo>
                      <a:lnTo>
                        <a:pt x="6678" y="62857"/>
                      </a:lnTo>
                      <a:lnTo>
                        <a:pt x="5385" y="58681"/>
                      </a:lnTo>
                      <a:lnTo>
                        <a:pt x="5170" y="56703"/>
                      </a:lnTo>
                      <a:lnTo>
                        <a:pt x="6678" y="51648"/>
                      </a:lnTo>
                      <a:lnTo>
                        <a:pt x="7971" y="45494"/>
                      </a:lnTo>
                      <a:lnTo>
                        <a:pt x="9910" y="39120"/>
                      </a:lnTo>
                      <a:lnTo>
                        <a:pt x="14865" y="34945"/>
                      </a:lnTo>
                      <a:lnTo>
                        <a:pt x="19605" y="30549"/>
                      </a:lnTo>
                      <a:lnTo>
                        <a:pt x="21759" y="28351"/>
                      </a:lnTo>
                      <a:lnTo>
                        <a:pt x="27791" y="27472"/>
                      </a:lnTo>
                      <a:lnTo>
                        <a:pt x="37701" y="28571"/>
                      </a:lnTo>
                      <a:lnTo>
                        <a:pt x="47612" y="29890"/>
                      </a:lnTo>
                      <a:lnTo>
                        <a:pt x="56445" y="31648"/>
                      </a:lnTo>
                      <a:lnTo>
                        <a:pt x="66570" y="32307"/>
                      </a:lnTo>
                      <a:lnTo>
                        <a:pt x="73249" y="32307"/>
                      </a:lnTo>
                      <a:lnTo>
                        <a:pt x="82513" y="28791"/>
                      </a:lnTo>
                      <a:lnTo>
                        <a:pt x="88114" y="21538"/>
                      </a:lnTo>
                      <a:lnTo>
                        <a:pt x="90915" y="12087"/>
                      </a:lnTo>
                      <a:lnTo>
                        <a:pt x="94362" y="1978"/>
                      </a:lnTo>
                      <a:lnTo>
                        <a:pt x="98025" y="0"/>
                      </a:lnTo>
                      <a:lnTo>
                        <a:pt x="103195" y="0"/>
                      </a:lnTo>
                      <a:lnTo>
                        <a:pt x="106211" y="3076"/>
                      </a:lnTo>
                      <a:lnTo>
                        <a:pt x="112459" y="1758"/>
                      </a:lnTo>
                      <a:lnTo>
                        <a:pt x="113321" y="7032"/>
                      </a:lnTo>
                      <a:lnTo>
                        <a:pt x="113536" y="9890"/>
                      </a:lnTo>
                      <a:lnTo>
                        <a:pt x="116122" y="13186"/>
                      </a:lnTo>
                      <a:lnTo>
                        <a:pt x="120000" y="16703"/>
                      </a:lnTo>
                      <a:lnTo>
                        <a:pt x="117630" y="24175"/>
                      </a:lnTo>
                      <a:lnTo>
                        <a:pt x="116337" y="27692"/>
                      </a:lnTo>
                      <a:lnTo>
                        <a:pt x="115044" y="29010"/>
                      </a:lnTo>
                      <a:lnTo>
                        <a:pt x="111382" y="29010"/>
                      </a:lnTo>
                      <a:lnTo>
                        <a:pt x="107719" y="29670"/>
                      </a:lnTo>
                      <a:lnTo>
                        <a:pt x="103411" y="29670"/>
                      </a:lnTo>
                      <a:lnTo>
                        <a:pt x="101256" y="30549"/>
                      </a:lnTo>
                      <a:lnTo>
                        <a:pt x="95870" y="34945"/>
                      </a:lnTo>
                      <a:lnTo>
                        <a:pt x="87253" y="45494"/>
                      </a:lnTo>
                      <a:lnTo>
                        <a:pt x="86822" y="52527"/>
                      </a:lnTo>
                      <a:lnTo>
                        <a:pt x="86175" y="58901"/>
                      </a:lnTo>
                      <a:lnTo>
                        <a:pt x="81220" y="70109"/>
                      </a:lnTo>
                      <a:lnTo>
                        <a:pt x="80574" y="71648"/>
                      </a:lnTo>
                      <a:lnTo>
                        <a:pt x="75834" y="73186"/>
                      </a:lnTo>
                      <a:lnTo>
                        <a:pt x="71095" y="74505"/>
                      </a:lnTo>
                      <a:lnTo>
                        <a:pt x="68294" y="73626"/>
                      </a:lnTo>
                      <a:lnTo>
                        <a:pt x="66570" y="72307"/>
                      </a:lnTo>
                      <a:lnTo>
                        <a:pt x="63554" y="70329"/>
                      </a:lnTo>
                      <a:lnTo>
                        <a:pt x="60969" y="67032"/>
                      </a:lnTo>
                      <a:lnTo>
                        <a:pt x="59461" y="64395"/>
                      </a:lnTo>
                      <a:lnTo>
                        <a:pt x="58599" y="60219"/>
                      </a:lnTo>
                      <a:lnTo>
                        <a:pt x="58384" y="56263"/>
                      </a:lnTo>
                      <a:lnTo>
                        <a:pt x="60323" y="52747"/>
                      </a:lnTo>
                      <a:lnTo>
                        <a:pt x="61400" y="50109"/>
                      </a:lnTo>
                      <a:lnTo>
                        <a:pt x="59030" y="49670"/>
                      </a:lnTo>
                      <a:lnTo>
                        <a:pt x="53644" y="50989"/>
                      </a:lnTo>
                      <a:lnTo>
                        <a:pt x="48043" y="52967"/>
                      </a:lnTo>
                      <a:lnTo>
                        <a:pt x="45242" y="52967"/>
                      </a:lnTo>
                      <a:lnTo>
                        <a:pt x="43518" y="56923"/>
                      </a:lnTo>
                      <a:lnTo>
                        <a:pt x="41364" y="60439"/>
                      </a:lnTo>
                      <a:lnTo>
                        <a:pt x="39210" y="63516"/>
                      </a:lnTo>
                      <a:lnTo>
                        <a:pt x="38132" y="66813"/>
                      </a:lnTo>
                      <a:lnTo>
                        <a:pt x="41364" y="66153"/>
                      </a:lnTo>
                      <a:lnTo>
                        <a:pt x="43949" y="64835"/>
                      </a:lnTo>
                      <a:lnTo>
                        <a:pt x="46535" y="65054"/>
                      </a:lnTo>
                      <a:lnTo>
                        <a:pt x="49766" y="66593"/>
                      </a:lnTo>
                      <a:lnTo>
                        <a:pt x="46319" y="67472"/>
                      </a:lnTo>
                      <a:lnTo>
                        <a:pt x="45026" y="67692"/>
                      </a:lnTo>
                      <a:lnTo>
                        <a:pt x="46535" y="70109"/>
                      </a:lnTo>
                      <a:lnTo>
                        <a:pt x="49766" y="72307"/>
                      </a:lnTo>
                      <a:lnTo>
                        <a:pt x="50197" y="76923"/>
                      </a:lnTo>
                      <a:lnTo>
                        <a:pt x="50197" y="78461"/>
                      </a:lnTo>
                      <a:lnTo>
                        <a:pt x="50843" y="80659"/>
                      </a:lnTo>
                      <a:lnTo>
                        <a:pt x="51490" y="84835"/>
                      </a:lnTo>
                      <a:lnTo>
                        <a:pt x="52782" y="89670"/>
                      </a:lnTo>
                      <a:lnTo>
                        <a:pt x="51921" y="93846"/>
                      </a:lnTo>
                      <a:lnTo>
                        <a:pt x="49766" y="99340"/>
                      </a:lnTo>
                      <a:lnTo>
                        <a:pt x="50843" y="101978"/>
                      </a:lnTo>
                      <a:lnTo>
                        <a:pt x="52998" y="105934"/>
                      </a:lnTo>
                      <a:lnTo>
                        <a:pt x="55798" y="109450"/>
                      </a:lnTo>
                      <a:lnTo>
                        <a:pt x="59676" y="115604"/>
                      </a:lnTo>
                      <a:lnTo>
                        <a:pt x="63339" y="119999"/>
                      </a:lnTo>
                      <a:lnTo>
                        <a:pt x="55798" y="119999"/>
                      </a:lnTo>
                      <a:lnTo>
                        <a:pt x="45457" y="119340"/>
                      </a:lnTo>
                      <a:lnTo>
                        <a:pt x="27791" y="118901"/>
                      </a:lnTo>
                      <a:lnTo>
                        <a:pt x="16588" y="118241"/>
                      </a:lnTo>
                      <a:lnTo>
                        <a:pt x="15511" y="114725"/>
                      </a:lnTo>
                      <a:lnTo>
                        <a:pt x="14219" y="111208"/>
                      </a:lnTo>
                      <a:lnTo>
                        <a:pt x="11633" y="110769"/>
                      </a:lnTo>
                      <a:lnTo>
                        <a:pt x="9910" y="109230"/>
                      </a:lnTo>
                      <a:lnTo>
                        <a:pt x="9479" y="105494"/>
                      </a:lnTo>
                      <a:lnTo>
                        <a:pt x="10341" y="100219"/>
                      </a:lnTo>
                      <a:lnTo>
                        <a:pt x="12064" y="97142"/>
                      </a:lnTo>
                      <a:lnTo>
                        <a:pt x="15727" y="95824"/>
                      </a:lnTo>
                      <a:lnTo>
                        <a:pt x="20897" y="94285"/>
                      </a:lnTo>
                      <a:lnTo>
                        <a:pt x="21974" y="91648"/>
                      </a:lnTo>
                      <a:lnTo>
                        <a:pt x="24991" y="89890"/>
                      </a:lnTo>
                      <a:lnTo>
                        <a:pt x="23052" y="87692"/>
                      </a:lnTo>
                      <a:lnTo>
                        <a:pt x="24775" y="84615"/>
                      </a:lnTo>
                      <a:lnTo>
                        <a:pt x="24129" y="82637"/>
                      </a:lnTo>
                      <a:lnTo>
                        <a:pt x="21974" y="81538"/>
                      </a:lnTo>
                      <a:lnTo>
                        <a:pt x="19820" y="80659"/>
                      </a:lnTo>
                      <a:lnTo>
                        <a:pt x="18096" y="80659"/>
                      </a:lnTo>
                      <a:lnTo>
                        <a:pt x="17450" y="77362"/>
                      </a:lnTo>
                      <a:lnTo>
                        <a:pt x="19174" y="74505"/>
                      </a:lnTo>
                      <a:lnTo>
                        <a:pt x="22405" y="70769"/>
                      </a:lnTo>
                      <a:lnTo>
                        <a:pt x="22836" y="68351"/>
                      </a:lnTo>
                      <a:lnTo>
                        <a:pt x="26068" y="67692"/>
                      </a:lnTo>
                      <a:lnTo>
                        <a:pt x="32100" y="69230"/>
                      </a:lnTo>
                      <a:lnTo>
                        <a:pt x="35763" y="70769"/>
                      </a:lnTo>
                      <a:lnTo>
                        <a:pt x="38779" y="70989"/>
                      </a:lnTo>
                      <a:lnTo>
                        <a:pt x="42441" y="69230"/>
                      </a:lnTo>
                      <a:lnTo>
                        <a:pt x="37701" y="68351"/>
                      </a:lnTo>
                      <a:lnTo>
                        <a:pt x="34254" y="66813"/>
                      </a:lnTo>
                      <a:lnTo>
                        <a:pt x="30807" y="65934"/>
                      </a:lnTo>
                      <a:cubicBezTo>
                        <a:pt x="29299" y="65164"/>
                        <a:pt x="27791" y="64615"/>
                        <a:pt x="26068" y="64615"/>
                      </a:cubicBezTo>
                      <a:lnTo>
                        <a:pt x="20897" y="65934"/>
                      </a:lnTo>
                      <a:lnTo>
                        <a:pt x="18743" y="70109"/>
                      </a:lnTo>
                      <a:lnTo>
                        <a:pt x="16588" y="72527"/>
                      </a:lnTo>
                      <a:lnTo>
                        <a:pt x="14003" y="76043"/>
                      </a:lnTo>
                      <a:lnTo>
                        <a:pt x="13141" y="79120"/>
                      </a:lnTo>
                      <a:lnTo>
                        <a:pt x="11633" y="79340"/>
                      </a:lnTo>
                      <a:lnTo>
                        <a:pt x="10125" y="76923"/>
                      </a:lnTo>
                      <a:lnTo>
                        <a:pt x="6463" y="73406"/>
                      </a:lnTo>
                      <a:lnTo>
                        <a:pt x="1077" y="71208"/>
                      </a:lnTo>
                      <a:lnTo>
                        <a:pt x="0" y="6945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72000" tIns="45700" rIns="91425" bIns="45700" anchor="ctr" anchorCtr="0">
                  <a:noAutofit/>
                </a:bodyPr>
                <a:lstStyle/>
                <a:p>
                  <a:pPr marL="0" marR="0" lvl="0" indent="26670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8" name="Shape 825"/>
                <p:cNvSpPr/>
                <p:nvPr/>
              </p:nvSpPr>
              <p:spPr>
                <a:xfrm>
                  <a:off x="2383439" y="2884965"/>
                  <a:ext cx="1016418" cy="4575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108" y="110982"/>
                      </a:moveTo>
                      <a:lnTo>
                        <a:pt x="2270" y="103352"/>
                      </a:lnTo>
                      <a:lnTo>
                        <a:pt x="0" y="95028"/>
                      </a:lnTo>
                      <a:lnTo>
                        <a:pt x="3243" y="80462"/>
                      </a:lnTo>
                      <a:lnTo>
                        <a:pt x="5837" y="67283"/>
                      </a:lnTo>
                      <a:lnTo>
                        <a:pt x="6810" y="57572"/>
                      </a:lnTo>
                      <a:lnTo>
                        <a:pt x="4864" y="47861"/>
                      </a:lnTo>
                      <a:lnTo>
                        <a:pt x="2270" y="39537"/>
                      </a:lnTo>
                      <a:lnTo>
                        <a:pt x="1945" y="30520"/>
                      </a:lnTo>
                      <a:lnTo>
                        <a:pt x="7135" y="27745"/>
                      </a:lnTo>
                      <a:lnTo>
                        <a:pt x="14918" y="19421"/>
                      </a:lnTo>
                      <a:lnTo>
                        <a:pt x="21729" y="7630"/>
                      </a:lnTo>
                      <a:lnTo>
                        <a:pt x="32756" y="2774"/>
                      </a:lnTo>
                      <a:lnTo>
                        <a:pt x="43135" y="0"/>
                      </a:lnTo>
                      <a:lnTo>
                        <a:pt x="58054" y="7630"/>
                      </a:lnTo>
                      <a:lnTo>
                        <a:pt x="66810" y="12485"/>
                      </a:lnTo>
                      <a:lnTo>
                        <a:pt x="75891" y="11791"/>
                      </a:lnTo>
                      <a:lnTo>
                        <a:pt x="86918" y="16647"/>
                      </a:lnTo>
                      <a:lnTo>
                        <a:pt x="105081" y="19421"/>
                      </a:lnTo>
                      <a:lnTo>
                        <a:pt x="120000" y="26358"/>
                      </a:lnTo>
                      <a:lnTo>
                        <a:pt x="118054" y="41618"/>
                      </a:lnTo>
                      <a:lnTo>
                        <a:pt x="113189" y="69364"/>
                      </a:lnTo>
                      <a:lnTo>
                        <a:pt x="109945" y="90867"/>
                      </a:lnTo>
                      <a:lnTo>
                        <a:pt x="102810" y="106820"/>
                      </a:lnTo>
                      <a:lnTo>
                        <a:pt x="92756" y="117919"/>
                      </a:lnTo>
                      <a:lnTo>
                        <a:pt x="83351" y="120000"/>
                      </a:lnTo>
                      <a:lnTo>
                        <a:pt x="66486" y="118612"/>
                      </a:lnTo>
                      <a:lnTo>
                        <a:pt x="52864" y="113757"/>
                      </a:lnTo>
                      <a:lnTo>
                        <a:pt x="38594" y="109595"/>
                      </a:lnTo>
                      <a:lnTo>
                        <a:pt x="28216" y="106820"/>
                      </a:lnTo>
                      <a:lnTo>
                        <a:pt x="20756" y="105433"/>
                      </a:lnTo>
                      <a:lnTo>
                        <a:pt x="13945" y="106820"/>
                      </a:lnTo>
                      <a:lnTo>
                        <a:pt x="8108" y="110982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9" name="Shape 826"/>
                <p:cNvSpPr/>
                <p:nvPr/>
              </p:nvSpPr>
              <p:spPr>
                <a:xfrm>
                  <a:off x="1897206" y="2324240"/>
                  <a:ext cx="1126298" cy="147323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61463" y="0"/>
                      </a:moveTo>
                      <a:lnTo>
                        <a:pt x="53853" y="4739"/>
                      </a:lnTo>
                      <a:lnTo>
                        <a:pt x="47121" y="11202"/>
                      </a:lnTo>
                      <a:lnTo>
                        <a:pt x="42146" y="16373"/>
                      </a:lnTo>
                      <a:lnTo>
                        <a:pt x="38341" y="22621"/>
                      </a:lnTo>
                      <a:lnTo>
                        <a:pt x="36585" y="26929"/>
                      </a:lnTo>
                      <a:lnTo>
                        <a:pt x="33658" y="29084"/>
                      </a:lnTo>
                      <a:lnTo>
                        <a:pt x="28390" y="31454"/>
                      </a:lnTo>
                      <a:lnTo>
                        <a:pt x="26341" y="33393"/>
                      </a:lnTo>
                      <a:lnTo>
                        <a:pt x="21365" y="36193"/>
                      </a:lnTo>
                      <a:lnTo>
                        <a:pt x="18439" y="38563"/>
                      </a:lnTo>
                      <a:lnTo>
                        <a:pt x="17560" y="40718"/>
                      </a:lnTo>
                      <a:lnTo>
                        <a:pt x="11707" y="42657"/>
                      </a:lnTo>
                      <a:lnTo>
                        <a:pt x="4390" y="47181"/>
                      </a:lnTo>
                      <a:lnTo>
                        <a:pt x="0" y="51274"/>
                      </a:lnTo>
                      <a:lnTo>
                        <a:pt x="3219" y="54075"/>
                      </a:lnTo>
                      <a:lnTo>
                        <a:pt x="8487" y="58384"/>
                      </a:lnTo>
                      <a:lnTo>
                        <a:pt x="12000" y="63554"/>
                      </a:lnTo>
                      <a:lnTo>
                        <a:pt x="13170" y="70879"/>
                      </a:lnTo>
                      <a:lnTo>
                        <a:pt x="13170" y="77342"/>
                      </a:lnTo>
                      <a:lnTo>
                        <a:pt x="9658" y="83590"/>
                      </a:lnTo>
                      <a:lnTo>
                        <a:pt x="6146" y="87253"/>
                      </a:lnTo>
                      <a:lnTo>
                        <a:pt x="8780" y="89838"/>
                      </a:lnTo>
                      <a:lnTo>
                        <a:pt x="13463" y="91777"/>
                      </a:lnTo>
                      <a:lnTo>
                        <a:pt x="19317" y="93931"/>
                      </a:lnTo>
                      <a:lnTo>
                        <a:pt x="21951" y="98456"/>
                      </a:lnTo>
                      <a:lnTo>
                        <a:pt x="23707" y="108366"/>
                      </a:lnTo>
                      <a:lnTo>
                        <a:pt x="26634" y="111382"/>
                      </a:lnTo>
                      <a:lnTo>
                        <a:pt x="31024" y="120000"/>
                      </a:lnTo>
                      <a:lnTo>
                        <a:pt x="34829" y="118707"/>
                      </a:lnTo>
                      <a:lnTo>
                        <a:pt x="39512" y="117414"/>
                      </a:lnTo>
                      <a:lnTo>
                        <a:pt x="41268" y="113321"/>
                      </a:lnTo>
                      <a:lnTo>
                        <a:pt x="39512" y="107935"/>
                      </a:lnTo>
                      <a:lnTo>
                        <a:pt x="41560" y="100610"/>
                      </a:lnTo>
                      <a:lnTo>
                        <a:pt x="44487" y="92208"/>
                      </a:lnTo>
                      <a:lnTo>
                        <a:pt x="47414" y="88761"/>
                      </a:lnTo>
                      <a:lnTo>
                        <a:pt x="56195" y="83375"/>
                      </a:lnTo>
                      <a:lnTo>
                        <a:pt x="60000" y="80359"/>
                      </a:lnTo>
                      <a:lnTo>
                        <a:pt x="55902" y="77989"/>
                      </a:lnTo>
                      <a:lnTo>
                        <a:pt x="52390" y="76481"/>
                      </a:lnTo>
                      <a:lnTo>
                        <a:pt x="52097" y="74111"/>
                      </a:lnTo>
                      <a:lnTo>
                        <a:pt x="54146" y="71095"/>
                      </a:lnTo>
                      <a:lnTo>
                        <a:pt x="57365" y="67432"/>
                      </a:lnTo>
                      <a:lnTo>
                        <a:pt x="57658" y="63123"/>
                      </a:lnTo>
                      <a:lnTo>
                        <a:pt x="55024" y="58815"/>
                      </a:lnTo>
                      <a:lnTo>
                        <a:pt x="52975" y="54937"/>
                      </a:lnTo>
                      <a:lnTo>
                        <a:pt x="57365" y="54290"/>
                      </a:lnTo>
                      <a:lnTo>
                        <a:pt x="65268" y="51059"/>
                      </a:lnTo>
                      <a:lnTo>
                        <a:pt x="71121" y="47827"/>
                      </a:lnTo>
                      <a:lnTo>
                        <a:pt x="84292" y="46104"/>
                      </a:lnTo>
                      <a:lnTo>
                        <a:pt x="90731" y="45673"/>
                      </a:lnTo>
                      <a:lnTo>
                        <a:pt x="99219" y="47396"/>
                      </a:lnTo>
                      <a:lnTo>
                        <a:pt x="112097" y="49120"/>
                      </a:lnTo>
                      <a:lnTo>
                        <a:pt x="120000" y="49120"/>
                      </a:lnTo>
                      <a:lnTo>
                        <a:pt x="118829" y="43518"/>
                      </a:lnTo>
                      <a:lnTo>
                        <a:pt x="119414" y="31023"/>
                      </a:lnTo>
                      <a:lnTo>
                        <a:pt x="113268" y="27576"/>
                      </a:lnTo>
                      <a:lnTo>
                        <a:pt x="102439" y="22405"/>
                      </a:lnTo>
                      <a:lnTo>
                        <a:pt x="97170" y="13141"/>
                      </a:lnTo>
                      <a:lnTo>
                        <a:pt x="92780" y="15511"/>
                      </a:lnTo>
                      <a:lnTo>
                        <a:pt x="88390" y="18096"/>
                      </a:lnTo>
                      <a:lnTo>
                        <a:pt x="84292" y="20682"/>
                      </a:lnTo>
                      <a:lnTo>
                        <a:pt x="81658" y="22621"/>
                      </a:lnTo>
                      <a:lnTo>
                        <a:pt x="78731" y="24775"/>
                      </a:lnTo>
                      <a:lnTo>
                        <a:pt x="70536" y="30161"/>
                      </a:lnTo>
                      <a:lnTo>
                        <a:pt x="62634" y="27145"/>
                      </a:lnTo>
                      <a:lnTo>
                        <a:pt x="56487" y="24775"/>
                      </a:lnTo>
                      <a:lnTo>
                        <a:pt x="51804" y="21328"/>
                      </a:lnTo>
                      <a:lnTo>
                        <a:pt x="51804" y="18743"/>
                      </a:lnTo>
                      <a:lnTo>
                        <a:pt x="59414" y="11418"/>
                      </a:lnTo>
                      <a:lnTo>
                        <a:pt x="63219" y="5385"/>
                      </a:lnTo>
                      <a:lnTo>
                        <a:pt x="61463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144000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60" name="Shape 827"/>
                <p:cNvSpPr/>
                <p:nvPr/>
              </p:nvSpPr>
              <p:spPr>
                <a:xfrm>
                  <a:off x="1537340" y="2956376"/>
                  <a:ext cx="486235" cy="44435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6779" y="0"/>
                      </a:moveTo>
                      <a:lnTo>
                        <a:pt x="63728" y="10714"/>
                      </a:lnTo>
                      <a:lnTo>
                        <a:pt x="47457" y="22142"/>
                      </a:lnTo>
                      <a:lnTo>
                        <a:pt x="36610" y="33571"/>
                      </a:lnTo>
                      <a:lnTo>
                        <a:pt x="17627" y="36428"/>
                      </a:lnTo>
                      <a:lnTo>
                        <a:pt x="3389" y="38571"/>
                      </a:lnTo>
                      <a:lnTo>
                        <a:pt x="0" y="47142"/>
                      </a:lnTo>
                      <a:lnTo>
                        <a:pt x="23050" y="74285"/>
                      </a:lnTo>
                      <a:lnTo>
                        <a:pt x="30508" y="75000"/>
                      </a:lnTo>
                      <a:lnTo>
                        <a:pt x="40000" y="55714"/>
                      </a:lnTo>
                      <a:lnTo>
                        <a:pt x="42033" y="46428"/>
                      </a:lnTo>
                      <a:lnTo>
                        <a:pt x="65762" y="55714"/>
                      </a:lnTo>
                      <a:lnTo>
                        <a:pt x="77966" y="61428"/>
                      </a:lnTo>
                      <a:lnTo>
                        <a:pt x="84067" y="75000"/>
                      </a:lnTo>
                      <a:lnTo>
                        <a:pt x="87457" y="95714"/>
                      </a:lnTo>
                      <a:lnTo>
                        <a:pt x="98305" y="114285"/>
                      </a:lnTo>
                      <a:lnTo>
                        <a:pt x="103050" y="120000"/>
                      </a:lnTo>
                      <a:lnTo>
                        <a:pt x="111186" y="105000"/>
                      </a:lnTo>
                      <a:lnTo>
                        <a:pt x="119999" y="86428"/>
                      </a:lnTo>
                      <a:lnTo>
                        <a:pt x="119999" y="55714"/>
                      </a:lnTo>
                      <a:lnTo>
                        <a:pt x="113220" y="27857"/>
                      </a:lnTo>
                      <a:lnTo>
                        <a:pt x="96271" y="5714"/>
                      </a:lnTo>
                      <a:lnTo>
                        <a:pt x="86779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  <p:grpSp>
            <p:nvGrpSpPr>
              <p:cNvPr id="44" name="Shape 828"/>
              <p:cNvGrpSpPr/>
              <p:nvPr/>
            </p:nvGrpSpPr>
            <p:grpSpPr>
              <a:xfrm>
                <a:off x="4792160" y="1624636"/>
                <a:ext cx="252231" cy="252231"/>
                <a:chOff x="250825" y="3464287"/>
                <a:chExt cx="504462" cy="504462"/>
              </a:xfrm>
            </p:grpSpPr>
            <p:sp>
              <p:nvSpPr>
                <p:cNvPr id="45" name="Shape 829"/>
                <p:cNvSpPr/>
                <p:nvPr/>
              </p:nvSpPr>
              <p:spPr>
                <a:xfrm>
                  <a:off x="250825" y="3464287"/>
                  <a:ext cx="504462" cy="504462"/>
                </a:xfrm>
                <a:prstGeom prst="ellipse">
                  <a:avLst/>
                </a:prstGeom>
                <a:solidFill>
                  <a:srgbClr val="29A3FF"/>
                </a:solidFill>
                <a:ln>
                  <a:noFill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46" name="Shape 830"/>
                <p:cNvSpPr/>
                <p:nvPr/>
              </p:nvSpPr>
              <p:spPr>
                <a:xfrm>
                  <a:off x="376312" y="3589776"/>
                  <a:ext cx="253486" cy="253486"/>
                </a:xfrm>
                <a:prstGeom prst="ellipse">
                  <a:avLst/>
                </a:prstGeom>
                <a:solidFill>
                  <a:srgbClr val="29A3FF"/>
                </a:solidFill>
                <a:ln w="15875" cap="rnd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</p:grpSp>
        <p:sp>
          <p:nvSpPr>
            <p:cNvPr id="42" name="Shape 831"/>
            <p:cNvSpPr txBox="1"/>
            <p:nvPr/>
          </p:nvSpPr>
          <p:spPr>
            <a:xfrm>
              <a:off x="5451943" y="1316270"/>
              <a:ext cx="1438071" cy="437048"/>
            </a:xfrm>
            <a:prstGeom prst="rect">
              <a:avLst/>
            </a:prstGeom>
            <a:solidFill>
              <a:srgbClr val="29A3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1200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atam</a:t>
              </a:r>
            </a:p>
          </p:txBody>
        </p:sp>
      </p:grpSp>
      <p:pic>
        <p:nvPicPr>
          <p:cNvPr id="61" name="Shape 806"/>
          <p:cNvPicPr preferRelativeResize="0"/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21881" y="-30392"/>
            <a:ext cx="1030643" cy="7607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2958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6" name="Shape 796"/>
          <p:cNvGrpSpPr/>
          <p:nvPr/>
        </p:nvGrpSpPr>
        <p:grpSpPr>
          <a:xfrm>
            <a:off x="4344216" y="164867"/>
            <a:ext cx="7728835" cy="6280713"/>
            <a:chOff x="6908546" y="822495"/>
            <a:chExt cx="4715911" cy="5406393"/>
          </a:xfrm>
        </p:grpSpPr>
        <p:grpSp>
          <p:nvGrpSpPr>
            <p:cNvPr id="797" name="Shape 797"/>
            <p:cNvGrpSpPr/>
            <p:nvPr/>
          </p:nvGrpSpPr>
          <p:grpSpPr>
            <a:xfrm>
              <a:off x="6908546" y="868052"/>
              <a:ext cx="441024" cy="465679"/>
              <a:chOff x="250825" y="3464287"/>
              <a:chExt cx="504462" cy="504462"/>
            </a:xfrm>
          </p:grpSpPr>
          <p:sp>
            <p:nvSpPr>
              <p:cNvPr id="798" name="Shape 798"/>
              <p:cNvSpPr/>
              <p:nvPr/>
            </p:nvSpPr>
            <p:spPr>
              <a:xfrm>
                <a:off x="250825" y="3464287"/>
                <a:ext cx="504462" cy="50446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99" name="Shape 799"/>
              <p:cNvSpPr/>
              <p:nvPr/>
            </p:nvSpPr>
            <p:spPr>
              <a:xfrm>
                <a:off x="376312" y="3589776"/>
                <a:ext cx="253486" cy="253486"/>
              </a:xfrm>
              <a:prstGeom prst="ellipse">
                <a:avLst/>
              </a:prstGeom>
              <a:solidFill>
                <a:srgbClr val="FFC000"/>
              </a:solidFill>
              <a:ln w="15875" cap="rnd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</p:grpSp>
        <p:sp>
          <p:nvSpPr>
            <p:cNvPr id="800" name="Shape 800"/>
            <p:cNvSpPr/>
            <p:nvPr/>
          </p:nvSpPr>
          <p:spPr>
            <a:xfrm>
              <a:off x="6979207" y="1445532"/>
              <a:ext cx="4645250" cy="4783356"/>
            </a:xfrm>
            <a:prstGeom prst="roundRect">
              <a:avLst>
                <a:gd name="adj" fmla="val 1831"/>
              </a:avLst>
            </a:prstGeom>
            <a:solidFill>
              <a:schemeClr val="lt1"/>
            </a:solidFill>
            <a:ln w="9525" cap="flat" cmpd="sng">
              <a:solidFill>
                <a:srgbClr val="BFBFB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182875" rIns="91425" bIns="45700" anchor="t" anchorCtr="0">
              <a:noAutofit/>
            </a:bodyPr>
            <a:lstStyle/>
            <a:p>
              <a:pPr marL="342900" marR="0" lvl="1" indent="-342900" algn="l" rtl="0">
                <a:spcBef>
                  <a:spcPts val="600"/>
                </a:spcBef>
                <a:buClr>
                  <a:schemeClr val="accent1"/>
                </a:buClr>
                <a:buFont typeface="Noto Sans Symbols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801" name="Shape 801"/>
            <p:cNvSpPr/>
            <p:nvPr/>
          </p:nvSpPr>
          <p:spPr>
            <a:xfrm>
              <a:off x="7536064" y="822495"/>
              <a:ext cx="4060245" cy="556796"/>
            </a:xfrm>
            <a:prstGeom prst="roundRect">
              <a:avLst>
                <a:gd name="adj" fmla="val 13209"/>
              </a:avLst>
            </a:prstGeom>
            <a:solidFill>
              <a:srgbClr val="FFC000"/>
            </a:solidFill>
            <a:ln w="15875" cap="rnd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799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lIns="5486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2000" b="1" cap="small" dirty="0" smtClean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TAMBACOUNDA</a:t>
              </a:r>
              <a:endParaRPr lang="fr-CA" sz="2000" b="1" cap="small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aphicFrame>
        <p:nvGraphicFramePr>
          <p:cNvPr id="34" name="Tableau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5431162"/>
              </p:ext>
            </p:extLst>
          </p:nvPr>
        </p:nvGraphicFramePr>
        <p:xfrm>
          <a:off x="427616" y="4654515"/>
          <a:ext cx="3546024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46024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800" b="0" i="0" u="none" strike="noStrike" cap="none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Population : 783</a:t>
                      </a:r>
                      <a:r>
                        <a:rPr lang="fr-CA" sz="1800" b="0" i="0" u="none" strike="noStrike" cap="none" baseline="0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777 </a:t>
                      </a:r>
                      <a:r>
                        <a:rPr lang="fr-CA" sz="1800" b="0" i="0" u="none" strike="noStrike" cap="none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habitant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5" name="Tableau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2126797"/>
              </p:ext>
            </p:extLst>
          </p:nvPr>
        </p:nvGraphicFramePr>
        <p:xfrm>
          <a:off x="504639" y="6274413"/>
          <a:ext cx="3241361" cy="57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1361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CA" sz="1600" dirty="0" smtClean="0">
                          <a:solidFill>
                            <a:schemeClr val="tx1"/>
                          </a:solidFill>
                        </a:rPr>
                        <a:t>Tourisme – Agriculture –</a:t>
                      </a:r>
                      <a:r>
                        <a:rPr lang="fr-CA" sz="1600" baseline="0" dirty="0" smtClean="0">
                          <a:solidFill>
                            <a:schemeClr val="tx1"/>
                          </a:solidFill>
                        </a:rPr>
                        <a:t> Culture </a:t>
                      </a:r>
                      <a:endParaRPr lang="fr-C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6" name="Tableau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312816"/>
              </p:ext>
            </p:extLst>
          </p:nvPr>
        </p:nvGraphicFramePr>
        <p:xfrm>
          <a:off x="4642786" y="959413"/>
          <a:ext cx="7410152" cy="8578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060"/>
                <a:gridCol w="4958092"/>
              </a:tblGrid>
              <a:tr h="316230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ATURE DE L’AÉRODROME</a:t>
                      </a:r>
                      <a:endParaRPr lang="fr-CA" sz="11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dirty="0">
                          <a:effectLst/>
                          <a:latin typeface="Century Gothic" panose="020B0502020202020204" pitchFamily="34" charset="0"/>
                        </a:rPr>
                        <a:t>Type d’aéroport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International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70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dirty="0">
                          <a:effectLst/>
                          <a:latin typeface="Century Gothic" panose="020B0502020202020204" pitchFamily="34" charset="0"/>
                        </a:rPr>
                        <a:t>Trafic passagers en </a:t>
                      </a: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2016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1100" dirty="0" smtClean="0">
                          <a:latin typeface="Century Gothic" panose="020B0502020202020204" pitchFamily="34" charset="0"/>
                        </a:rPr>
                        <a:t>-</a:t>
                      </a:r>
                      <a:r>
                        <a:rPr lang="fr-CA" sz="1100" baseline="0" dirty="0" smtClean="0">
                          <a:latin typeface="Century Gothic" panose="020B0502020202020204" pitchFamily="34" charset="0"/>
                        </a:rPr>
                        <a:t> </a:t>
                      </a:r>
                      <a:endParaRPr lang="fr-CA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7" name="Tableau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621091"/>
              </p:ext>
            </p:extLst>
          </p:nvPr>
        </p:nvGraphicFramePr>
        <p:xfrm>
          <a:off x="4642787" y="2154474"/>
          <a:ext cx="7410151" cy="4494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9631"/>
                <a:gridCol w="2629006"/>
                <a:gridCol w="2771514"/>
              </a:tblGrid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ÉTAT DES LIEUX</a:t>
                      </a:r>
                      <a:endParaRPr lang="fr-CA" sz="11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ONSISTANCE DES TRAVAUX</a:t>
                      </a:r>
                      <a:endParaRPr lang="fr-CA" sz="11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>
                    <a:solidFill>
                      <a:srgbClr val="FFC000"/>
                    </a:solidFill>
                  </a:tcPr>
                </a:tc>
              </a:tr>
              <a:tr h="283440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PISTE 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2000 x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30 en bitume 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2800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x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45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396376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CLÔTURE DE L’EMPRISE</a:t>
                      </a:r>
                      <a:r>
                        <a:rPr lang="fr-CA" sz="1100" b="1" baseline="0" dirty="0" smtClean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ÉROPORTUAIRE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371475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Quasi-inexistant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Reconstruction avec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3 sorties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de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secour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ÉROGARE + SALON VIP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117,2 m2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3300m2 </a:t>
                      </a:r>
                      <a:r>
                        <a:rPr lang="fr-CA" sz="1100" baseline="0" dirty="0" smtClean="0">
                          <a:effectLst/>
                          <a:latin typeface="Century Gothic" panose="020B0502020202020204" pitchFamily="34" charset="0"/>
                        </a:rPr>
                        <a:t>+ salon VIP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170504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SSLI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Niveau 4 sur 6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iveau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IRE DE STATIONNEMENT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Dégradée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en parti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A réhabilit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ÉQUIPEMENTS DE N/A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O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ILS + Balisag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BÂTIMENTS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A réfectionn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>
                          <a:effectLst/>
                          <a:latin typeface="Century Gothic" panose="020B0502020202020204" pitchFamily="34" charset="0"/>
                        </a:rPr>
                        <a:t>Reconstruction et équipement des bâtiments</a:t>
                      </a:r>
                      <a:endParaRPr lang="fr-CA" sz="11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170504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STATION MÉTÉO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Obsolèt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ouvelle station météo équipé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SSISTANCE AU SOL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Néant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Équipement des services d’assistance au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sol + véhicules aéroportuaire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CENTRALE ÉNERGÉTIQUE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é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140 </a:t>
                      </a:r>
                      <a:r>
                        <a:rPr lang="fr-CA" sz="110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 + 180 </a:t>
                      </a:r>
                      <a:r>
                        <a:rPr lang="fr-CA" sz="1100" baseline="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512310"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ÉPÔT ET FOURNITURE CARBURANT</a:t>
                      </a:r>
                      <a:endParaRPr lang="fr-CA" sz="1100" b="1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éant</a:t>
                      </a: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8t de 100LL</a:t>
                      </a:r>
                      <a:r>
                        <a:rPr lang="fr-CA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+ 39t de Jet A1</a:t>
                      </a: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02677"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OBJECTIF </a:t>
                      </a: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Mise</a:t>
                      </a:r>
                      <a:r>
                        <a:rPr lang="fr-CA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aux normes </a:t>
                      </a:r>
                      <a:endParaRPr lang="fr-CA" sz="1100" kern="1200" dirty="0" smtClean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02677"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OÛT ESTIMÉ</a:t>
                      </a:r>
                      <a:endParaRPr lang="fr-CA" sz="1100" b="1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400" b="1" kern="1200" baseline="0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6 500 000 000 F CFA</a:t>
                      </a:r>
                      <a:endParaRPr lang="fr-CA" sz="1400" b="1" kern="1200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pic>
        <p:nvPicPr>
          <p:cNvPr id="38" name="Shape 839" descr="Résultat de recherche d'images pour &quot;matam agriculture&quot;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04640" y="5253128"/>
            <a:ext cx="1269840" cy="939262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Shape 840" descr="Résultat de recherche d'images pour &quot;matam fleuve&quot;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315375" y="5297343"/>
            <a:ext cx="1430625" cy="89236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0" name="Shape 846"/>
          <p:cNvGrpSpPr/>
          <p:nvPr/>
        </p:nvGrpSpPr>
        <p:grpSpPr>
          <a:xfrm>
            <a:off x="60542" y="1109735"/>
            <a:ext cx="4174158" cy="3109840"/>
            <a:chOff x="828782" y="1032186"/>
            <a:chExt cx="6465603" cy="5127995"/>
          </a:xfrm>
        </p:grpSpPr>
        <p:grpSp>
          <p:nvGrpSpPr>
            <p:cNvPr id="41" name="Shape 847"/>
            <p:cNvGrpSpPr/>
            <p:nvPr/>
          </p:nvGrpSpPr>
          <p:grpSpPr>
            <a:xfrm>
              <a:off x="828782" y="1032186"/>
              <a:ext cx="6465603" cy="5127995"/>
              <a:chOff x="849596" y="1025155"/>
              <a:chExt cx="5866523" cy="4406062"/>
            </a:xfrm>
          </p:grpSpPr>
          <p:grpSp>
            <p:nvGrpSpPr>
              <p:cNvPr id="43" name="Shape 848"/>
              <p:cNvGrpSpPr/>
              <p:nvPr/>
            </p:nvGrpSpPr>
            <p:grpSpPr>
              <a:xfrm>
                <a:off x="849596" y="1025155"/>
                <a:ext cx="5866523" cy="4406062"/>
                <a:chOff x="1537340" y="1223262"/>
                <a:chExt cx="5973634" cy="4486512"/>
              </a:xfrm>
            </p:grpSpPr>
            <p:sp>
              <p:nvSpPr>
                <p:cNvPr id="47" name="Shape 849"/>
                <p:cNvSpPr/>
                <p:nvPr/>
              </p:nvSpPr>
              <p:spPr>
                <a:xfrm>
                  <a:off x="2614939" y="1223262"/>
                  <a:ext cx="2692139" cy="95218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714" y="102000"/>
                      </a:moveTo>
                      <a:lnTo>
                        <a:pt x="9795" y="103333"/>
                      </a:lnTo>
                      <a:lnTo>
                        <a:pt x="13959" y="102666"/>
                      </a:lnTo>
                      <a:lnTo>
                        <a:pt x="17632" y="89333"/>
                      </a:lnTo>
                      <a:lnTo>
                        <a:pt x="21551" y="81333"/>
                      </a:lnTo>
                      <a:lnTo>
                        <a:pt x="24979" y="68000"/>
                      </a:lnTo>
                      <a:lnTo>
                        <a:pt x="30122" y="62000"/>
                      </a:lnTo>
                      <a:lnTo>
                        <a:pt x="34775" y="61333"/>
                      </a:lnTo>
                      <a:lnTo>
                        <a:pt x="36734" y="58000"/>
                      </a:lnTo>
                      <a:lnTo>
                        <a:pt x="42122" y="78000"/>
                      </a:lnTo>
                      <a:lnTo>
                        <a:pt x="43591" y="80666"/>
                      </a:lnTo>
                      <a:lnTo>
                        <a:pt x="55836" y="76000"/>
                      </a:lnTo>
                      <a:lnTo>
                        <a:pt x="68326" y="76666"/>
                      </a:lnTo>
                      <a:lnTo>
                        <a:pt x="75183" y="80000"/>
                      </a:lnTo>
                      <a:lnTo>
                        <a:pt x="78612" y="87333"/>
                      </a:lnTo>
                      <a:lnTo>
                        <a:pt x="86448" y="84000"/>
                      </a:lnTo>
                      <a:lnTo>
                        <a:pt x="88897" y="92666"/>
                      </a:lnTo>
                      <a:lnTo>
                        <a:pt x="90612" y="120000"/>
                      </a:lnTo>
                      <a:lnTo>
                        <a:pt x="108979" y="81333"/>
                      </a:lnTo>
                      <a:lnTo>
                        <a:pt x="120000" y="61333"/>
                      </a:lnTo>
                      <a:lnTo>
                        <a:pt x="117795" y="50000"/>
                      </a:lnTo>
                      <a:lnTo>
                        <a:pt x="115102" y="52000"/>
                      </a:lnTo>
                      <a:lnTo>
                        <a:pt x="112163" y="48666"/>
                      </a:lnTo>
                      <a:lnTo>
                        <a:pt x="112408" y="41333"/>
                      </a:lnTo>
                      <a:lnTo>
                        <a:pt x="109959" y="34666"/>
                      </a:lnTo>
                      <a:lnTo>
                        <a:pt x="105061" y="24666"/>
                      </a:lnTo>
                      <a:lnTo>
                        <a:pt x="103591" y="22000"/>
                      </a:lnTo>
                      <a:lnTo>
                        <a:pt x="102122" y="16000"/>
                      </a:lnTo>
                      <a:lnTo>
                        <a:pt x="100653" y="20000"/>
                      </a:lnTo>
                      <a:lnTo>
                        <a:pt x="98938" y="13333"/>
                      </a:lnTo>
                      <a:lnTo>
                        <a:pt x="96489" y="12666"/>
                      </a:lnTo>
                      <a:lnTo>
                        <a:pt x="91836" y="8666"/>
                      </a:lnTo>
                      <a:lnTo>
                        <a:pt x="89142" y="10666"/>
                      </a:lnTo>
                      <a:lnTo>
                        <a:pt x="82285" y="8000"/>
                      </a:lnTo>
                      <a:lnTo>
                        <a:pt x="74448" y="4000"/>
                      </a:lnTo>
                      <a:lnTo>
                        <a:pt x="71510" y="1333"/>
                      </a:lnTo>
                      <a:lnTo>
                        <a:pt x="69306" y="0"/>
                      </a:lnTo>
                      <a:lnTo>
                        <a:pt x="68081" y="5333"/>
                      </a:lnTo>
                      <a:lnTo>
                        <a:pt x="63918" y="6000"/>
                      </a:lnTo>
                      <a:lnTo>
                        <a:pt x="63918" y="11333"/>
                      </a:lnTo>
                      <a:lnTo>
                        <a:pt x="61959" y="10000"/>
                      </a:lnTo>
                      <a:lnTo>
                        <a:pt x="58040" y="10000"/>
                      </a:lnTo>
                      <a:lnTo>
                        <a:pt x="55836" y="11333"/>
                      </a:lnTo>
                      <a:lnTo>
                        <a:pt x="51428" y="18000"/>
                      </a:lnTo>
                      <a:lnTo>
                        <a:pt x="48489" y="13333"/>
                      </a:lnTo>
                      <a:lnTo>
                        <a:pt x="46285" y="13333"/>
                      </a:lnTo>
                      <a:lnTo>
                        <a:pt x="42367" y="18000"/>
                      </a:lnTo>
                      <a:lnTo>
                        <a:pt x="39673" y="23333"/>
                      </a:lnTo>
                      <a:lnTo>
                        <a:pt x="35510" y="20000"/>
                      </a:lnTo>
                      <a:lnTo>
                        <a:pt x="32816" y="18000"/>
                      </a:lnTo>
                      <a:lnTo>
                        <a:pt x="30857" y="18000"/>
                      </a:lnTo>
                      <a:lnTo>
                        <a:pt x="28163" y="17333"/>
                      </a:lnTo>
                      <a:lnTo>
                        <a:pt x="25714" y="19333"/>
                      </a:lnTo>
                      <a:lnTo>
                        <a:pt x="24734" y="16000"/>
                      </a:lnTo>
                      <a:lnTo>
                        <a:pt x="24000" y="10000"/>
                      </a:lnTo>
                      <a:lnTo>
                        <a:pt x="20326" y="12000"/>
                      </a:lnTo>
                      <a:lnTo>
                        <a:pt x="18367" y="13333"/>
                      </a:lnTo>
                      <a:lnTo>
                        <a:pt x="15673" y="16000"/>
                      </a:lnTo>
                      <a:lnTo>
                        <a:pt x="15673" y="22000"/>
                      </a:lnTo>
                      <a:lnTo>
                        <a:pt x="12244" y="32666"/>
                      </a:lnTo>
                      <a:lnTo>
                        <a:pt x="10285" y="38666"/>
                      </a:lnTo>
                      <a:lnTo>
                        <a:pt x="7346" y="43333"/>
                      </a:lnTo>
                      <a:lnTo>
                        <a:pt x="7102" y="50000"/>
                      </a:lnTo>
                      <a:lnTo>
                        <a:pt x="7102" y="57333"/>
                      </a:lnTo>
                      <a:lnTo>
                        <a:pt x="6122" y="61333"/>
                      </a:lnTo>
                      <a:lnTo>
                        <a:pt x="3428" y="65333"/>
                      </a:lnTo>
                      <a:lnTo>
                        <a:pt x="1469" y="68666"/>
                      </a:lnTo>
                      <a:lnTo>
                        <a:pt x="0" y="74000"/>
                      </a:lnTo>
                      <a:lnTo>
                        <a:pt x="244" y="88666"/>
                      </a:lnTo>
                      <a:lnTo>
                        <a:pt x="1959" y="80000"/>
                      </a:lnTo>
                      <a:lnTo>
                        <a:pt x="3183" y="74666"/>
                      </a:lnTo>
                      <a:lnTo>
                        <a:pt x="3183" y="84666"/>
                      </a:lnTo>
                      <a:lnTo>
                        <a:pt x="1714" y="88000"/>
                      </a:lnTo>
                      <a:lnTo>
                        <a:pt x="2448" y="94000"/>
                      </a:lnTo>
                      <a:lnTo>
                        <a:pt x="1714" y="10200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48" name="Shape 850"/>
                <p:cNvSpPr/>
                <p:nvPr/>
              </p:nvSpPr>
              <p:spPr>
                <a:xfrm>
                  <a:off x="2372450" y="1668290"/>
                  <a:ext cx="2477862" cy="16081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5055" y="48947"/>
                      </a:moveTo>
                      <a:lnTo>
                        <a:pt x="8248" y="41052"/>
                      </a:lnTo>
                      <a:lnTo>
                        <a:pt x="9312" y="36315"/>
                      </a:lnTo>
                      <a:lnTo>
                        <a:pt x="13569" y="25657"/>
                      </a:lnTo>
                      <a:lnTo>
                        <a:pt x="27937" y="26447"/>
                      </a:lnTo>
                      <a:lnTo>
                        <a:pt x="30066" y="20526"/>
                      </a:lnTo>
                      <a:lnTo>
                        <a:pt x="35121" y="14605"/>
                      </a:lnTo>
                      <a:lnTo>
                        <a:pt x="39113" y="7500"/>
                      </a:lnTo>
                      <a:lnTo>
                        <a:pt x="42572" y="2763"/>
                      </a:lnTo>
                      <a:lnTo>
                        <a:pt x="48159" y="2368"/>
                      </a:lnTo>
                      <a:lnTo>
                        <a:pt x="51618" y="0"/>
                      </a:lnTo>
                      <a:lnTo>
                        <a:pt x="57738" y="11447"/>
                      </a:lnTo>
                      <a:lnTo>
                        <a:pt x="61197" y="12631"/>
                      </a:lnTo>
                      <a:lnTo>
                        <a:pt x="77427" y="9868"/>
                      </a:lnTo>
                      <a:lnTo>
                        <a:pt x="93126" y="11842"/>
                      </a:lnTo>
                      <a:lnTo>
                        <a:pt x="97383" y="17368"/>
                      </a:lnTo>
                      <a:lnTo>
                        <a:pt x="105365" y="15000"/>
                      </a:lnTo>
                      <a:lnTo>
                        <a:pt x="108292" y="18947"/>
                      </a:lnTo>
                      <a:lnTo>
                        <a:pt x="110155" y="35131"/>
                      </a:lnTo>
                      <a:lnTo>
                        <a:pt x="111219" y="48157"/>
                      </a:lnTo>
                      <a:lnTo>
                        <a:pt x="108558" y="53684"/>
                      </a:lnTo>
                      <a:lnTo>
                        <a:pt x="105898" y="56052"/>
                      </a:lnTo>
                      <a:lnTo>
                        <a:pt x="103769" y="65921"/>
                      </a:lnTo>
                      <a:lnTo>
                        <a:pt x="102172" y="78947"/>
                      </a:lnTo>
                      <a:lnTo>
                        <a:pt x="104301" y="83684"/>
                      </a:lnTo>
                      <a:lnTo>
                        <a:pt x="108026" y="84078"/>
                      </a:lnTo>
                      <a:lnTo>
                        <a:pt x="112815" y="88026"/>
                      </a:lnTo>
                      <a:lnTo>
                        <a:pt x="118137" y="93947"/>
                      </a:lnTo>
                      <a:lnTo>
                        <a:pt x="120000" y="99078"/>
                      </a:lnTo>
                      <a:lnTo>
                        <a:pt x="114944" y="105394"/>
                      </a:lnTo>
                      <a:lnTo>
                        <a:pt x="110953" y="112500"/>
                      </a:lnTo>
                      <a:lnTo>
                        <a:pt x="107228" y="118421"/>
                      </a:lnTo>
                      <a:lnTo>
                        <a:pt x="103769" y="120000"/>
                      </a:lnTo>
                      <a:lnTo>
                        <a:pt x="101906" y="117236"/>
                      </a:lnTo>
                      <a:lnTo>
                        <a:pt x="98181" y="115657"/>
                      </a:lnTo>
                      <a:lnTo>
                        <a:pt x="92328" y="114473"/>
                      </a:lnTo>
                      <a:lnTo>
                        <a:pt x="88070" y="114473"/>
                      </a:lnTo>
                      <a:lnTo>
                        <a:pt x="84345" y="109736"/>
                      </a:lnTo>
                      <a:lnTo>
                        <a:pt x="82483" y="106973"/>
                      </a:lnTo>
                      <a:lnTo>
                        <a:pt x="80620" y="108157"/>
                      </a:lnTo>
                      <a:lnTo>
                        <a:pt x="77427" y="112500"/>
                      </a:lnTo>
                      <a:lnTo>
                        <a:pt x="72904" y="117236"/>
                      </a:lnTo>
                      <a:lnTo>
                        <a:pt x="66518" y="112500"/>
                      </a:lnTo>
                      <a:lnTo>
                        <a:pt x="62261" y="106578"/>
                      </a:lnTo>
                      <a:lnTo>
                        <a:pt x="61729" y="101842"/>
                      </a:lnTo>
                      <a:lnTo>
                        <a:pt x="61463" y="98289"/>
                      </a:lnTo>
                      <a:lnTo>
                        <a:pt x="59068" y="98684"/>
                      </a:lnTo>
                      <a:lnTo>
                        <a:pt x="57472" y="99473"/>
                      </a:lnTo>
                      <a:lnTo>
                        <a:pt x="55343" y="96315"/>
                      </a:lnTo>
                      <a:lnTo>
                        <a:pt x="52150" y="96315"/>
                      </a:lnTo>
                      <a:lnTo>
                        <a:pt x="50022" y="98289"/>
                      </a:lnTo>
                      <a:lnTo>
                        <a:pt x="44700" y="96710"/>
                      </a:lnTo>
                      <a:lnTo>
                        <a:pt x="36984" y="95131"/>
                      </a:lnTo>
                      <a:lnTo>
                        <a:pt x="31396" y="94342"/>
                      </a:lnTo>
                      <a:lnTo>
                        <a:pt x="31130" y="88026"/>
                      </a:lnTo>
                      <a:lnTo>
                        <a:pt x="31396" y="77368"/>
                      </a:lnTo>
                      <a:lnTo>
                        <a:pt x="29534" y="75789"/>
                      </a:lnTo>
                      <a:lnTo>
                        <a:pt x="26341" y="72631"/>
                      </a:lnTo>
                      <a:lnTo>
                        <a:pt x="23680" y="69868"/>
                      </a:lnTo>
                      <a:lnTo>
                        <a:pt x="22084" y="64736"/>
                      </a:lnTo>
                      <a:lnTo>
                        <a:pt x="21019" y="60789"/>
                      </a:lnTo>
                      <a:lnTo>
                        <a:pt x="18093" y="65131"/>
                      </a:lnTo>
                      <a:lnTo>
                        <a:pt x="14634" y="68684"/>
                      </a:lnTo>
                      <a:lnTo>
                        <a:pt x="10643" y="75000"/>
                      </a:lnTo>
                      <a:lnTo>
                        <a:pt x="8514" y="76578"/>
                      </a:lnTo>
                      <a:lnTo>
                        <a:pt x="1862" y="70657"/>
                      </a:lnTo>
                      <a:lnTo>
                        <a:pt x="0" y="68289"/>
                      </a:lnTo>
                      <a:lnTo>
                        <a:pt x="5853" y="54473"/>
                      </a:lnTo>
                      <a:lnTo>
                        <a:pt x="5055" y="48947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49" name="Shape 851"/>
                <p:cNvSpPr/>
                <p:nvPr/>
              </p:nvSpPr>
              <p:spPr>
                <a:xfrm>
                  <a:off x="4467214" y="1662998"/>
                  <a:ext cx="1889989" cy="19361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0465" y="30163"/>
                      </a:moveTo>
                      <a:lnTo>
                        <a:pt x="53023" y="1967"/>
                      </a:lnTo>
                      <a:lnTo>
                        <a:pt x="55813" y="1967"/>
                      </a:lnTo>
                      <a:lnTo>
                        <a:pt x="58953" y="0"/>
                      </a:lnTo>
                      <a:lnTo>
                        <a:pt x="63837" y="1639"/>
                      </a:lnTo>
                      <a:lnTo>
                        <a:pt x="68023" y="655"/>
                      </a:lnTo>
                      <a:lnTo>
                        <a:pt x="73255" y="3278"/>
                      </a:lnTo>
                      <a:lnTo>
                        <a:pt x="73604" y="6229"/>
                      </a:lnTo>
                      <a:lnTo>
                        <a:pt x="78837" y="7868"/>
                      </a:lnTo>
                      <a:lnTo>
                        <a:pt x="82674" y="12786"/>
                      </a:lnTo>
                      <a:lnTo>
                        <a:pt x="83023" y="18360"/>
                      </a:lnTo>
                      <a:lnTo>
                        <a:pt x="84767" y="22950"/>
                      </a:lnTo>
                      <a:lnTo>
                        <a:pt x="85465" y="27540"/>
                      </a:lnTo>
                      <a:lnTo>
                        <a:pt x="86860" y="31147"/>
                      </a:lnTo>
                      <a:lnTo>
                        <a:pt x="87906" y="36721"/>
                      </a:lnTo>
                      <a:lnTo>
                        <a:pt x="90697" y="39016"/>
                      </a:lnTo>
                      <a:lnTo>
                        <a:pt x="93488" y="40327"/>
                      </a:lnTo>
                      <a:lnTo>
                        <a:pt x="94186" y="43934"/>
                      </a:lnTo>
                      <a:lnTo>
                        <a:pt x="94186" y="46885"/>
                      </a:lnTo>
                      <a:lnTo>
                        <a:pt x="104302" y="45901"/>
                      </a:lnTo>
                      <a:lnTo>
                        <a:pt x="105697" y="52786"/>
                      </a:lnTo>
                      <a:lnTo>
                        <a:pt x="103953" y="56065"/>
                      </a:lnTo>
                      <a:lnTo>
                        <a:pt x="105000" y="59672"/>
                      </a:lnTo>
                      <a:lnTo>
                        <a:pt x="108488" y="62622"/>
                      </a:lnTo>
                      <a:lnTo>
                        <a:pt x="109883" y="65901"/>
                      </a:lnTo>
                      <a:lnTo>
                        <a:pt x="112674" y="69180"/>
                      </a:lnTo>
                      <a:lnTo>
                        <a:pt x="118604" y="72786"/>
                      </a:lnTo>
                      <a:lnTo>
                        <a:pt x="117209" y="75737"/>
                      </a:lnTo>
                      <a:lnTo>
                        <a:pt x="117558" y="83606"/>
                      </a:lnTo>
                      <a:lnTo>
                        <a:pt x="120000" y="88196"/>
                      </a:lnTo>
                      <a:lnTo>
                        <a:pt x="119651" y="91803"/>
                      </a:lnTo>
                      <a:lnTo>
                        <a:pt x="114069" y="99672"/>
                      </a:lnTo>
                      <a:lnTo>
                        <a:pt x="106395" y="105573"/>
                      </a:lnTo>
                      <a:lnTo>
                        <a:pt x="102906" y="105245"/>
                      </a:lnTo>
                      <a:lnTo>
                        <a:pt x="88604" y="103278"/>
                      </a:lnTo>
                      <a:lnTo>
                        <a:pt x="85465" y="104590"/>
                      </a:lnTo>
                      <a:lnTo>
                        <a:pt x="78488" y="115081"/>
                      </a:lnTo>
                      <a:lnTo>
                        <a:pt x="75697" y="116721"/>
                      </a:lnTo>
                      <a:lnTo>
                        <a:pt x="69418" y="120000"/>
                      </a:lnTo>
                      <a:lnTo>
                        <a:pt x="56162" y="117049"/>
                      </a:lnTo>
                      <a:lnTo>
                        <a:pt x="44302" y="111475"/>
                      </a:lnTo>
                      <a:lnTo>
                        <a:pt x="35930" y="105901"/>
                      </a:lnTo>
                      <a:lnTo>
                        <a:pt x="23372" y="97704"/>
                      </a:lnTo>
                      <a:lnTo>
                        <a:pt x="16744" y="92459"/>
                      </a:lnTo>
                      <a:lnTo>
                        <a:pt x="13953" y="91147"/>
                      </a:lnTo>
                      <a:lnTo>
                        <a:pt x="24069" y="82950"/>
                      </a:lnTo>
                      <a:lnTo>
                        <a:pt x="20581" y="78688"/>
                      </a:lnTo>
                      <a:lnTo>
                        <a:pt x="15000" y="73770"/>
                      </a:lnTo>
                      <a:lnTo>
                        <a:pt x="6976" y="70163"/>
                      </a:lnTo>
                      <a:lnTo>
                        <a:pt x="1395" y="68852"/>
                      </a:lnTo>
                      <a:lnTo>
                        <a:pt x="348" y="64918"/>
                      </a:lnTo>
                      <a:lnTo>
                        <a:pt x="0" y="60327"/>
                      </a:lnTo>
                      <a:lnTo>
                        <a:pt x="4186" y="46885"/>
                      </a:lnTo>
                      <a:lnTo>
                        <a:pt x="8720" y="44262"/>
                      </a:lnTo>
                      <a:lnTo>
                        <a:pt x="11162" y="40327"/>
                      </a:lnTo>
                      <a:lnTo>
                        <a:pt x="11511" y="35409"/>
                      </a:lnTo>
                      <a:lnTo>
                        <a:pt x="10465" y="30163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0" name="Shape 852"/>
                <p:cNvSpPr/>
                <p:nvPr/>
              </p:nvSpPr>
              <p:spPr>
                <a:xfrm>
                  <a:off x="4004362" y="2832490"/>
                  <a:ext cx="3133010" cy="260220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8842" y="244"/>
                      </a:moveTo>
                      <a:lnTo>
                        <a:pt x="91157" y="0"/>
                      </a:lnTo>
                      <a:lnTo>
                        <a:pt x="96210" y="4163"/>
                      </a:lnTo>
                      <a:lnTo>
                        <a:pt x="98736" y="6857"/>
                      </a:lnTo>
                      <a:lnTo>
                        <a:pt x="100210" y="10285"/>
                      </a:lnTo>
                      <a:lnTo>
                        <a:pt x="103157" y="12734"/>
                      </a:lnTo>
                      <a:lnTo>
                        <a:pt x="105894" y="14938"/>
                      </a:lnTo>
                      <a:lnTo>
                        <a:pt x="108631" y="18612"/>
                      </a:lnTo>
                      <a:lnTo>
                        <a:pt x="109473" y="22775"/>
                      </a:lnTo>
                      <a:lnTo>
                        <a:pt x="107578" y="25959"/>
                      </a:lnTo>
                      <a:lnTo>
                        <a:pt x="106736" y="28897"/>
                      </a:lnTo>
                      <a:lnTo>
                        <a:pt x="108631" y="32081"/>
                      </a:lnTo>
                      <a:lnTo>
                        <a:pt x="110315" y="35265"/>
                      </a:lnTo>
                      <a:lnTo>
                        <a:pt x="112210" y="36000"/>
                      </a:lnTo>
                      <a:lnTo>
                        <a:pt x="113052" y="42857"/>
                      </a:lnTo>
                      <a:lnTo>
                        <a:pt x="113052" y="45061"/>
                      </a:lnTo>
                      <a:lnTo>
                        <a:pt x="110526" y="51673"/>
                      </a:lnTo>
                      <a:lnTo>
                        <a:pt x="110315" y="54612"/>
                      </a:lnTo>
                      <a:lnTo>
                        <a:pt x="111578" y="57795"/>
                      </a:lnTo>
                      <a:lnTo>
                        <a:pt x="113263" y="60000"/>
                      </a:lnTo>
                      <a:lnTo>
                        <a:pt x="113052" y="64408"/>
                      </a:lnTo>
                      <a:lnTo>
                        <a:pt x="109684" y="69306"/>
                      </a:lnTo>
                      <a:lnTo>
                        <a:pt x="108631" y="71510"/>
                      </a:lnTo>
                      <a:lnTo>
                        <a:pt x="110736" y="72734"/>
                      </a:lnTo>
                      <a:lnTo>
                        <a:pt x="113684" y="75673"/>
                      </a:lnTo>
                      <a:lnTo>
                        <a:pt x="113894" y="77877"/>
                      </a:lnTo>
                      <a:lnTo>
                        <a:pt x="119999" y="82775"/>
                      </a:lnTo>
                      <a:cubicBezTo>
                        <a:pt x="119315" y="83448"/>
                        <a:pt x="118631" y="84122"/>
                        <a:pt x="117894" y="84734"/>
                      </a:cubicBezTo>
                      <a:cubicBezTo>
                        <a:pt x="117526" y="85040"/>
                        <a:pt x="116631" y="85469"/>
                        <a:pt x="116631" y="85469"/>
                      </a:cubicBezTo>
                      <a:lnTo>
                        <a:pt x="114105" y="86204"/>
                      </a:lnTo>
                      <a:cubicBezTo>
                        <a:pt x="113421" y="86632"/>
                        <a:pt x="112631" y="86938"/>
                        <a:pt x="112000" y="87428"/>
                      </a:cubicBezTo>
                      <a:cubicBezTo>
                        <a:pt x="111789" y="87612"/>
                        <a:pt x="111578" y="88163"/>
                        <a:pt x="111578" y="88163"/>
                      </a:cubicBezTo>
                      <a:lnTo>
                        <a:pt x="108421" y="85714"/>
                      </a:lnTo>
                      <a:lnTo>
                        <a:pt x="103157" y="82285"/>
                      </a:lnTo>
                      <a:lnTo>
                        <a:pt x="101263" y="81795"/>
                      </a:lnTo>
                      <a:lnTo>
                        <a:pt x="101052" y="84489"/>
                      </a:lnTo>
                      <a:lnTo>
                        <a:pt x="101684" y="86938"/>
                      </a:lnTo>
                      <a:lnTo>
                        <a:pt x="98947" y="88653"/>
                      </a:lnTo>
                      <a:lnTo>
                        <a:pt x="97894" y="91836"/>
                      </a:lnTo>
                      <a:lnTo>
                        <a:pt x="96210" y="89387"/>
                      </a:lnTo>
                      <a:lnTo>
                        <a:pt x="93263" y="89632"/>
                      </a:lnTo>
                      <a:lnTo>
                        <a:pt x="91578" y="93306"/>
                      </a:lnTo>
                      <a:lnTo>
                        <a:pt x="89473" y="94530"/>
                      </a:lnTo>
                      <a:lnTo>
                        <a:pt x="86736" y="94040"/>
                      </a:lnTo>
                      <a:lnTo>
                        <a:pt x="83368" y="95265"/>
                      </a:lnTo>
                      <a:lnTo>
                        <a:pt x="82526" y="97959"/>
                      </a:lnTo>
                      <a:lnTo>
                        <a:pt x="81473" y="99183"/>
                      </a:lnTo>
                      <a:cubicBezTo>
                        <a:pt x="80000" y="100040"/>
                        <a:pt x="77842" y="100775"/>
                        <a:pt x="77052" y="102612"/>
                      </a:cubicBezTo>
                      <a:lnTo>
                        <a:pt x="73894" y="101387"/>
                      </a:lnTo>
                      <a:lnTo>
                        <a:pt x="72631" y="100163"/>
                      </a:lnTo>
                      <a:lnTo>
                        <a:pt x="70315" y="99428"/>
                      </a:lnTo>
                      <a:lnTo>
                        <a:pt x="68631" y="100163"/>
                      </a:lnTo>
                      <a:lnTo>
                        <a:pt x="66315" y="100653"/>
                      </a:lnTo>
                      <a:lnTo>
                        <a:pt x="64631" y="100653"/>
                      </a:lnTo>
                      <a:lnTo>
                        <a:pt x="62315" y="100163"/>
                      </a:lnTo>
                      <a:lnTo>
                        <a:pt x="60210" y="100897"/>
                      </a:lnTo>
                      <a:lnTo>
                        <a:pt x="61473" y="103591"/>
                      </a:lnTo>
                      <a:lnTo>
                        <a:pt x="62947" y="105306"/>
                      </a:lnTo>
                      <a:lnTo>
                        <a:pt x="62736" y="107020"/>
                      </a:lnTo>
                      <a:lnTo>
                        <a:pt x="62315" y="110204"/>
                      </a:lnTo>
                      <a:lnTo>
                        <a:pt x="64631" y="111183"/>
                      </a:lnTo>
                      <a:lnTo>
                        <a:pt x="64842" y="112653"/>
                      </a:lnTo>
                      <a:lnTo>
                        <a:pt x="65052" y="116816"/>
                      </a:lnTo>
                      <a:lnTo>
                        <a:pt x="62315" y="120000"/>
                      </a:lnTo>
                      <a:lnTo>
                        <a:pt x="54736" y="119265"/>
                      </a:lnTo>
                      <a:lnTo>
                        <a:pt x="50105" y="103346"/>
                      </a:lnTo>
                      <a:lnTo>
                        <a:pt x="45263" y="85469"/>
                      </a:lnTo>
                      <a:lnTo>
                        <a:pt x="44842" y="83755"/>
                      </a:lnTo>
                      <a:lnTo>
                        <a:pt x="43578" y="81551"/>
                      </a:lnTo>
                      <a:lnTo>
                        <a:pt x="42736" y="80081"/>
                      </a:lnTo>
                      <a:cubicBezTo>
                        <a:pt x="42736" y="79163"/>
                        <a:pt x="42736" y="78306"/>
                        <a:pt x="42736" y="77387"/>
                      </a:cubicBezTo>
                      <a:cubicBezTo>
                        <a:pt x="40421" y="76040"/>
                        <a:pt x="41421" y="76163"/>
                        <a:pt x="40000" y="76163"/>
                      </a:cubicBezTo>
                      <a:lnTo>
                        <a:pt x="39368" y="73959"/>
                      </a:lnTo>
                      <a:cubicBezTo>
                        <a:pt x="37315" y="75551"/>
                        <a:pt x="37473" y="74571"/>
                        <a:pt x="37473" y="76163"/>
                      </a:cubicBezTo>
                      <a:lnTo>
                        <a:pt x="34315" y="74938"/>
                      </a:lnTo>
                      <a:lnTo>
                        <a:pt x="32631" y="73469"/>
                      </a:lnTo>
                      <a:lnTo>
                        <a:pt x="30315" y="74204"/>
                      </a:lnTo>
                      <a:lnTo>
                        <a:pt x="25684" y="75428"/>
                      </a:lnTo>
                      <a:lnTo>
                        <a:pt x="20631" y="76408"/>
                      </a:lnTo>
                      <a:lnTo>
                        <a:pt x="16842" y="75918"/>
                      </a:lnTo>
                      <a:lnTo>
                        <a:pt x="14105" y="73714"/>
                      </a:lnTo>
                      <a:lnTo>
                        <a:pt x="12210" y="71755"/>
                      </a:lnTo>
                      <a:lnTo>
                        <a:pt x="10526" y="70775"/>
                      </a:lnTo>
                      <a:lnTo>
                        <a:pt x="6526" y="70775"/>
                      </a:lnTo>
                      <a:lnTo>
                        <a:pt x="3578" y="70285"/>
                      </a:lnTo>
                      <a:lnTo>
                        <a:pt x="842" y="67591"/>
                      </a:lnTo>
                      <a:lnTo>
                        <a:pt x="0" y="64897"/>
                      </a:lnTo>
                      <a:lnTo>
                        <a:pt x="1684" y="61959"/>
                      </a:lnTo>
                      <a:lnTo>
                        <a:pt x="5894" y="59510"/>
                      </a:lnTo>
                      <a:lnTo>
                        <a:pt x="9894" y="56571"/>
                      </a:lnTo>
                      <a:lnTo>
                        <a:pt x="13473" y="51183"/>
                      </a:lnTo>
                      <a:lnTo>
                        <a:pt x="15578" y="45061"/>
                      </a:lnTo>
                      <a:lnTo>
                        <a:pt x="15157" y="39673"/>
                      </a:lnTo>
                      <a:lnTo>
                        <a:pt x="16421" y="35510"/>
                      </a:lnTo>
                      <a:lnTo>
                        <a:pt x="17052" y="33795"/>
                      </a:lnTo>
                      <a:lnTo>
                        <a:pt x="15368" y="32816"/>
                      </a:lnTo>
                      <a:lnTo>
                        <a:pt x="15368" y="29877"/>
                      </a:lnTo>
                      <a:lnTo>
                        <a:pt x="15789" y="27428"/>
                      </a:lnTo>
                      <a:lnTo>
                        <a:pt x="15789" y="25224"/>
                      </a:lnTo>
                      <a:lnTo>
                        <a:pt x="15368" y="22040"/>
                      </a:lnTo>
                      <a:lnTo>
                        <a:pt x="18736" y="20326"/>
                      </a:lnTo>
                      <a:lnTo>
                        <a:pt x="21473" y="18367"/>
                      </a:lnTo>
                      <a:lnTo>
                        <a:pt x="26105" y="13224"/>
                      </a:lnTo>
                      <a:lnTo>
                        <a:pt x="30736" y="16897"/>
                      </a:lnTo>
                      <a:lnTo>
                        <a:pt x="38105" y="23755"/>
                      </a:lnTo>
                      <a:lnTo>
                        <a:pt x="48210" y="31346"/>
                      </a:lnTo>
                      <a:lnTo>
                        <a:pt x="53894" y="33306"/>
                      </a:lnTo>
                      <a:lnTo>
                        <a:pt x="59368" y="34775"/>
                      </a:lnTo>
                      <a:lnTo>
                        <a:pt x="64631" y="30857"/>
                      </a:lnTo>
                      <a:lnTo>
                        <a:pt x="67368" y="26204"/>
                      </a:lnTo>
                      <a:lnTo>
                        <a:pt x="69894" y="22775"/>
                      </a:lnTo>
                      <a:lnTo>
                        <a:pt x="72210" y="22530"/>
                      </a:lnTo>
                      <a:lnTo>
                        <a:pt x="77473" y="23510"/>
                      </a:lnTo>
                      <a:lnTo>
                        <a:pt x="82105" y="24000"/>
                      </a:lnTo>
                      <a:lnTo>
                        <a:pt x="84842" y="20816"/>
                      </a:lnTo>
                      <a:lnTo>
                        <a:pt x="88421" y="17142"/>
                      </a:lnTo>
                      <a:lnTo>
                        <a:pt x="90105" y="11755"/>
                      </a:lnTo>
                      <a:lnTo>
                        <a:pt x="88842" y="7346"/>
                      </a:lnTo>
                      <a:lnTo>
                        <a:pt x="88421" y="2693"/>
                      </a:lnTo>
                      <a:lnTo>
                        <a:pt x="88842" y="244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1" name="Shape 853"/>
                <p:cNvSpPr/>
                <p:nvPr/>
              </p:nvSpPr>
              <p:spPr>
                <a:xfrm>
                  <a:off x="5571539" y="4614762"/>
                  <a:ext cx="1939435" cy="109501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93824" y="8115"/>
                      </a:moveTo>
                      <a:lnTo>
                        <a:pt x="95524" y="17391"/>
                      </a:lnTo>
                      <a:lnTo>
                        <a:pt x="102322" y="13913"/>
                      </a:lnTo>
                      <a:lnTo>
                        <a:pt x="102662" y="6376"/>
                      </a:lnTo>
                      <a:lnTo>
                        <a:pt x="105382" y="6956"/>
                      </a:lnTo>
                      <a:lnTo>
                        <a:pt x="108441" y="13913"/>
                      </a:lnTo>
                      <a:lnTo>
                        <a:pt x="110141" y="20289"/>
                      </a:lnTo>
                      <a:lnTo>
                        <a:pt x="111501" y="26086"/>
                      </a:lnTo>
                      <a:lnTo>
                        <a:pt x="111501" y="32463"/>
                      </a:lnTo>
                      <a:lnTo>
                        <a:pt x="116260" y="35942"/>
                      </a:lnTo>
                      <a:lnTo>
                        <a:pt x="117280" y="42898"/>
                      </a:lnTo>
                      <a:lnTo>
                        <a:pt x="115240" y="50434"/>
                      </a:lnTo>
                      <a:lnTo>
                        <a:pt x="118640" y="51014"/>
                      </a:lnTo>
                      <a:lnTo>
                        <a:pt x="120000" y="53913"/>
                      </a:lnTo>
                      <a:lnTo>
                        <a:pt x="117280" y="58550"/>
                      </a:lnTo>
                      <a:lnTo>
                        <a:pt x="117280" y="67826"/>
                      </a:lnTo>
                      <a:lnTo>
                        <a:pt x="118300" y="75942"/>
                      </a:lnTo>
                      <a:lnTo>
                        <a:pt x="117960" y="79420"/>
                      </a:lnTo>
                      <a:lnTo>
                        <a:pt x="115240" y="77681"/>
                      </a:lnTo>
                      <a:lnTo>
                        <a:pt x="114220" y="84637"/>
                      </a:lnTo>
                      <a:lnTo>
                        <a:pt x="114560" y="92753"/>
                      </a:lnTo>
                      <a:lnTo>
                        <a:pt x="114220" y="96811"/>
                      </a:lnTo>
                      <a:lnTo>
                        <a:pt x="111841" y="99130"/>
                      </a:lnTo>
                      <a:lnTo>
                        <a:pt x="114900" y="103768"/>
                      </a:lnTo>
                      <a:lnTo>
                        <a:pt x="117280" y="109565"/>
                      </a:lnTo>
                      <a:lnTo>
                        <a:pt x="113881" y="114202"/>
                      </a:lnTo>
                      <a:lnTo>
                        <a:pt x="110481" y="113043"/>
                      </a:lnTo>
                      <a:lnTo>
                        <a:pt x="96883" y="115362"/>
                      </a:lnTo>
                      <a:lnTo>
                        <a:pt x="84985" y="116521"/>
                      </a:lnTo>
                      <a:lnTo>
                        <a:pt x="75467" y="115362"/>
                      </a:lnTo>
                      <a:lnTo>
                        <a:pt x="71048" y="111304"/>
                      </a:lnTo>
                      <a:lnTo>
                        <a:pt x="62889" y="114202"/>
                      </a:lnTo>
                      <a:lnTo>
                        <a:pt x="57790" y="119420"/>
                      </a:lnTo>
                      <a:lnTo>
                        <a:pt x="48611" y="120000"/>
                      </a:lnTo>
                      <a:lnTo>
                        <a:pt x="37733" y="115942"/>
                      </a:lnTo>
                      <a:lnTo>
                        <a:pt x="29235" y="111304"/>
                      </a:lnTo>
                      <a:lnTo>
                        <a:pt x="22096" y="103768"/>
                      </a:lnTo>
                      <a:lnTo>
                        <a:pt x="18356" y="107826"/>
                      </a:lnTo>
                      <a:lnTo>
                        <a:pt x="13597" y="110144"/>
                      </a:lnTo>
                      <a:lnTo>
                        <a:pt x="9518" y="106666"/>
                      </a:lnTo>
                      <a:lnTo>
                        <a:pt x="8158" y="97391"/>
                      </a:lnTo>
                      <a:lnTo>
                        <a:pt x="6118" y="93333"/>
                      </a:lnTo>
                      <a:lnTo>
                        <a:pt x="2039" y="88115"/>
                      </a:lnTo>
                      <a:lnTo>
                        <a:pt x="7138" y="82898"/>
                      </a:lnTo>
                      <a:lnTo>
                        <a:pt x="7138" y="69565"/>
                      </a:lnTo>
                      <a:lnTo>
                        <a:pt x="4079" y="66086"/>
                      </a:lnTo>
                      <a:lnTo>
                        <a:pt x="4419" y="56231"/>
                      </a:lnTo>
                      <a:lnTo>
                        <a:pt x="0" y="43478"/>
                      </a:lnTo>
                      <a:lnTo>
                        <a:pt x="6118" y="44057"/>
                      </a:lnTo>
                      <a:lnTo>
                        <a:pt x="11218" y="43478"/>
                      </a:lnTo>
                      <a:lnTo>
                        <a:pt x="17337" y="40000"/>
                      </a:lnTo>
                      <a:lnTo>
                        <a:pt x="25495" y="47536"/>
                      </a:lnTo>
                      <a:lnTo>
                        <a:pt x="27875" y="49855"/>
                      </a:lnTo>
                      <a:lnTo>
                        <a:pt x="30254" y="42898"/>
                      </a:lnTo>
                      <a:lnTo>
                        <a:pt x="35354" y="39420"/>
                      </a:lnTo>
                      <a:lnTo>
                        <a:pt x="38413" y="29565"/>
                      </a:lnTo>
                      <a:lnTo>
                        <a:pt x="43172" y="29565"/>
                      </a:lnTo>
                      <a:lnTo>
                        <a:pt x="46912" y="28985"/>
                      </a:lnTo>
                      <a:lnTo>
                        <a:pt x="49631" y="26086"/>
                      </a:lnTo>
                      <a:lnTo>
                        <a:pt x="53371" y="17971"/>
                      </a:lnTo>
                      <a:lnTo>
                        <a:pt x="58130" y="17391"/>
                      </a:lnTo>
                      <a:lnTo>
                        <a:pt x="61189" y="20869"/>
                      </a:lnTo>
                      <a:lnTo>
                        <a:pt x="64249" y="12173"/>
                      </a:lnTo>
                      <a:lnTo>
                        <a:pt x="66628" y="11594"/>
                      </a:lnTo>
                      <a:lnTo>
                        <a:pt x="66288" y="0"/>
                      </a:lnTo>
                      <a:lnTo>
                        <a:pt x="68668" y="0"/>
                      </a:lnTo>
                      <a:lnTo>
                        <a:pt x="75467" y="6956"/>
                      </a:lnTo>
                      <a:lnTo>
                        <a:pt x="82606" y="14492"/>
                      </a:lnTo>
                      <a:lnTo>
                        <a:pt x="85325" y="9855"/>
                      </a:lnTo>
                      <a:lnTo>
                        <a:pt x="93824" y="8115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2" name="Shape 854"/>
                <p:cNvSpPr/>
                <p:nvPr/>
              </p:nvSpPr>
              <p:spPr>
                <a:xfrm>
                  <a:off x="3548201" y="4408458"/>
                  <a:ext cx="1889989" cy="100508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20000" y="120000"/>
                      </a:moveTo>
                      <a:lnTo>
                        <a:pt x="79883" y="118736"/>
                      </a:lnTo>
                      <a:lnTo>
                        <a:pt x="28255" y="116210"/>
                      </a:lnTo>
                      <a:lnTo>
                        <a:pt x="15348" y="114315"/>
                      </a:lnTo>
                      <a:lnTo>
                        <a:pt x="9069" y="114315"/>
                      </a:lnTo>
                      <a:lnTo>
                        <a:pt x="11511" y="104210"/>
                      </a:lnTo>
                      <a:lnTo>
                        <a:pt x="12558" y="94736"/>
                      </a:lnTo>
                      <a:lnTo>
                        <a:pt x="13604" y="90947"/>
                      </a:lnTo>
                      <a:lnTo>
                        <a:pt x="13604" y="85263"/>
                      </a:lnTo>
                      <a:lnTo>
                        <a:pt x="11162" y="80842"/>
                      </a:lnTo>
                      <a:lnTo>
                        <a:pt x="10813" y="76421"/>
                      </a:lnTo>
                      <a:lnTo>
                        <a:pt x="10465" y="72000"/>
                      </a:lnTo>
                      <a:lnTo>
                        <a:pt x="6976" y="66947"/>
                      </a:lnTo>
                      <a:lnTo>
                        <a:pt x="6976" y="60000"/>
                      </a:lnTo>
                      <a:lnTo>
                        <a:pt x="5930" y="55578"/>
                      </a:lnTo>
                      <a:lnTo>
                        <a:pt x="5232" y="49263"/>
                      </a:lnTo>
                      <a:lnTo>
                        <a:pt x="2790" y="47368"/>
                      </a:lnTo>
                      <a:lnTo>
                        <a:pt x="0" y="42315"/>
                      </a:lnTo>
                      <a:lnTo>
                        <a:pt x="0" y="37894"/>
                      </a:lnTo>
                      <a:lnTo>
                        <a:pt x="1046" y="34105"/>
                      </a:lnTo>
                      <a:lnTo>
                        <a:pt x="697" y="25894"/>
                      </a:lnTo>
                      <a:lnTo>
                        <a:pt x="697" y="20210"/>
                      </a:lnTo>
                      <a:lnTo>
                        <a:pt x="5232" y="18947"/>
                      </a:lnTo>
                      <a:lnTo>
                        <a:pt x="9767" y="14526"/>
                      </a:lnTo>
                      <a:lnTo>
                        <a:pt x="10813" y="6315"/>
                      </a:lnTo>
                      <a:lnTo>
                        <a:pt x="12558" y="1894"/>
                      </a:lnTo>
                      <a:lnTo>
                        <a:pt x="16744" y="0"/>
                      </a:lnTo>
                      <a:lnTo>
                        <a:pt x="18837" y="6315"/>
                      </a:lnTo>
                      <a:lnTo>
                        <a:pt x="19883" y="13263"/>
                      </a:lnTo>
                      <a:lnTo>
                        <a:pt x="23023" y="15157"/>
                      </a:lnTo>
                      <a:lnTo>
                        <a:pt x="28604" y="18947"/>
                      </a:lnTo>
                      <a:lnTo>
                        <a:pt x="35581" y="20842"/>
                      </a:lnTo>
                      <a:lnTo>
                        <a:pt x="40116" y="22105"/>
                      </a:lnTo>
                      <a:lnTo>
                        <a:pt x="45348" y="23368"/>
                      </a:lnTo>
                      <a:lnTo>
                        <a:pt x="50232" y="30947"/>
                      </a:lnTo>
                      <a:lnTo>
                        <a:pt x="54418" y="34736"/>
                      </a:lnTo>
                      <a:lnTo>
                        <a:pt x="58604" y="36000"/>
                      </a:lnTo>
                      <a:lnTo>
                        <a:pt x="65581" y="36631"/>
                      </a:lnTo>
                      <a:lnTo>
                        <a:pt x="73255" y="34736"/>
                      </a:lnTo>
                      <a:lnTo>
                        <a:pt x="80930" y="30315"/>
                      </a:lnTo>
                      <a:lnTo>
                        <a:pt x="85116" y="23368"/>
                      </a:lnTo>
                      <a:lnTo>
                        <a:pt x="89302" y="22736"/>
                      </a:lnTo>
                      <a:lnTo>
                        <a:pt x="93488" y="22105"/>
                      </a:lnTo>
                      <a:lnTo>
                        <a:pt x="97325" y="9473"/>
                      </a:lnTo>
                      <a:lnTo>
                        <a:pt x="101860" y="12631"/>
                      </a:lnTo>
                      <a:lnTo>
                        <a:pt x="101162" y="20210"/>
                      </a:lnTo>
                      <a:lnTo>
                        <a:pt x="103604" y="24000"/>
                      </a:lnTo>
                      <a:lnTo>
                        <a:pt x="110930" y="63157"/>
                      </a:lnTo>
                      <a:lnTo>
                        <a:pt x="120000" y="12000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3" name="Shape 855"/>
                <p:cNvSpPr/>
                <p:nvPr/>
              </p:nvSpPr>
              <p:spPr>
                <a:xfrm>
                  <a:off x="2860688" y="4561862"/>
                  <a:ext cx="906537" cy="102094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20363" y="27979"/>
                      </a:moveTo>
                      <a:lnTo>
                        <a:pt x="36363" y="27357"/>
                      </a:lnTo>
                      <a:lnTo>
                        <a:pt x="40727" y="7461"/>
                      </a:lnTo>
                      <a:lnTo>
                        <a:pt x="61818" y="1865"/>
                      </a:lnTo>
                      <a:lnTo>
                        <a:pt x="76363" y="0"/>
                      </a:lnTo>
                      <a:lnTo>
                        <a:pt x="93090" y="2487"/>
                      </a:lnTo>
                      <a:lnTo>
                        <a:pt x="93818" y="16165"/>
                      </a:lnTo>
                      <a:lnTo>
                        <a:pt x="90181" y="23626"/>
                      </a:lnTo>
                      <a:lnTo>
                        <a:pt x="98181" y="29222"/>
                      </a:lnTo>
                      <a:lnTo>
                        <a:pt x="104000" y="31709"/>
                      </a:lnTo>
                      <a:lnTo>
                        <a:pt x="106181" y="39170"/>
                      </a:lnTo>
                      <a:lnTo>
                        <a:pt x="106909" y="44766"/>
                      </a:lnTo>
                      <a:lnTo>
                        <a:pt x="112000" y="52227"/>
                      </a:lnTo>
                      <a:lnTo>
                        <a:pt x="114909" y="60932"/>
                      </a:lnTo>
                      <a:lnTo>
                        <a:pt x="120000" y="69015"/>
                      </a:lnTo>
                      <a:lnTo>
                        <a:pt x="112000" y="98238"/>
                      </a:lnTo>
                      <a:lnTo>
                        <a:pt x="88000" y="106321"/>
                      </a:lnTo>
                      <a:lnTo>
                        <a:pt x="60363" y="117512"/>
                      </a:lnTo>
                      <a:lnTo>
                        <a:pt x="31272" y="119378"/>
                      </a:lnTo>
                      <a:lnTo>
                        <a:pt x="21818" y="120000"/>
                      </a:lnTo>
                      <a:lnTo>
                        <a:pt x="18181" y="115647"/>
                      </a:lnTo>
                      <a:lnTo>
                        <a:pt x="8000" y="96373"/>
                      </a:lnTo>
                      <a:lnTo>
                        <a:pt x="26909" y="103212"/>
                      </a:lnTo>
                      <a:lnTo>
                        <a:pt x="41454" y="104455"/>
                      </a:lnTo>
                      <a:lnTo>
                        <a:pt x="47272" y="105699"/>
                      </a:lnTo>
                      <a:lnTo>
                        <a:pt x="58181" y="106943"/>
                      </a:lnTo>
                      <a:lnTo>
                        <a:pt x="66181" y="101968"/>
                      </a:lnTo>
                      <a:lnTo>
                        <a:pt x="76363" y="92020"/>
                      </a:lnTo>
                      <a:lnTo>
                        <a:pt x="79272" y="88290"/>
                      </a:lnTo>
                      <a:lnTo>
                        <a:pt x="64727" y="95129"/>
                      </a:lnTo>
                      <a:lnTo>
                        <a:pt x="61818" y="100725"/>
                      </a:lnTo>
                      <a:lnTo>
                        <a:pt x="52363" y="104455"/>
                      </a:lnTo>
                      <a:lnTo>
                        <a:pt x="45818" y="101347"/>
                      </a:lnTo>
                      <a:lnTo>
                        <a:pt x="34909" y="99481"/>
                      </a:lnTo>
                      <a:lnTo>
                        <a:pt x="23272" y="99481"/>
                      </a:lnTo>
                      <a:lnTo>
                        <a:pt x="11636" y="97616"/>
                      </a:lnTo>
                      <a:lnTo>
                        <a:pt x="2181" y="93886"/>
                      </a:lnTo>
                      <a:lnTo>
                        <a:pt x="0" y="88290"/>
                      </a:lnTo>
                      <a:lnTo>
                        <a:pt x="0" y="73989"/>
                      </a:lnTo>
                      <a:lnTo>
                        <a:pt x="5090" y="65906"/>
                      </a:lnTo>
                      <a:lnTo>
                        <a:pt x="5818" y="60310"/>
                      </a:lnTo>
                      <a:lnTo>
                        <a:pt x="14545" y="47253"/>
                      </a:lnTo>
                      <a:lnTo>
                        <a:pt x="18181" y="39170"/>
                      </a:lnTo>
                      <a:lnTo>
                        <a:pt x="13818" y="34196"/>
                      </a:lnTo>
                      <a:lnTo>
                        <a:pt x="20363" y="27979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4" name="Shape 856"/>
                <p:cNvSpPr/>
                <p:nvPr/>
              </p:nvSpPr>
              <p:spPr>
                <a:xfrm>
                  <a:off x="2062659" y="4778750"/>
                  <a:ext cx="957354" cy="87283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17934" y="2545"/>
                      </a:moveTo>
                      <a:lnTo>
                        <a:pt x="32539" y="0"/>
                      </a:lnTo>
                      <a:lnTo>
                        <a:pt x="26513" y="909"/>
                      </a:lnTo>
                      <a:lnTo>
                        <a:pt x="16011" y="4363"/>
                      </a:lnTo>
                      <a:lnTo>
                        <a:pt x="12912" y="7454"/>
                      </a:lnTo>
                      <a:lnTo>
                        <a:pt x="11879" y="17818"/>
                      </a:lnTo>
                      <a:lnTo>
                        <a:pt x="11535" y="32000"/>
                      </a:lnTo>
                      <a:lnTo>
                        <a:pt x="7230" y="40363"/>
                      </a:lnTo>
                      <a:lnTo>
                        <a:pt x="3615" y="56000"/>
                      </a:lnTo>
                      <a:lnTo>
                        <a:pt x="2582" y="58181"/>
                      </a:lnTo>
                      <a:lnTo>
                        <a:pt x="6370" y="60363"/>
                      </a:lnTo>
                      <a:lnTo>
                        <a:pt x="4820" y="66545"/>
                      </a:lnTo>
                      <a:lnTo>
                        <a:pt x="6886" y="68000"/>
                      </a:lnTo>
                      <a:lnTo>
                        <a:pt x="11879" y="64181"/>
                      </a:lnTo>
                      <a:lnTo>
                        <a:pt x="22898" y="72363"/>
                      </a:lnTo>
                      <a:lnTo>
                        <a:pt x="22898" y="75272"/>
                      </a:lnTo>
                      <a:lnTo>
                        <a:pt x="28063" y="71272"/>
                      </a:lnTo>
                      <a:lnTo>
                        <a:pt x="29440" y="78545"/>
                      </a:lnTo>
                      <a:lnTo>
                        <a:pt x="34777" y="80000"/>
                      </a:lnTo>
                      <a:lnTo>
                        <a:pt x="39426" y="75090"/>
                      </a:lnTo>
                      <a:lnTo>
                        <a:pt x="42869" y="76727"/>
                      </a:lnTo>
                      <a:lnTo>
                        <a:pt x="47173" y="84000"/>
                      </a:lnTo>
                      <a:lnTo>
                        <a:pt x="53371" y="87090"/>
                      </a:lnTo>
                      <a:lnTo>
                        <a:pt x="57331" y="81636"/>
                      </a:lnTo>
                      <a:lnTo>
                        <a:pt x="63012" y="80727"/>
                      </a:lnTo>
                      <a:lnTo>
                        <a:pt x="69210" y="83454"/>
                      </a:lnTo>
                      <a:lnTo>
                        <a:pt x="75408" y="84363"/>
                      </a:lnTo>
                      <a:lnTo>
                        <a:pt x="79540" y="86000"/>
                      </a:lnTo>
                      <a:lnTo>
                        <a:pt x="87804" y="86000"/>
                      </a:lnTo>
                      <a:lnTo>
                        <a:pt x="91592" y="83818"/>
                      </a:lnTo>
                      <a:lnTo>
                        <a:pt x="93658" y="83272"/>
                      </a:lnTo>
                      <a:lnTo>
                        <a:pt x="99856" y="81090"/>
                      </a:lnTo>
                      <a:lnTo>
                        <a:pt x="102266" y="84000"/>
                      </a:lnTo>
                      <a:lnTo>
                        <a:pt x="98651" y="86000"/>
                      </a:lnTo>
                      <a:lnTo>
                        <a:pt x="87460" y="89272"/>
                      </a:lnTo>
                      <a:lnTo>
                        <a:pt x="76614" y="89272"/>
                      </a:lnTo>
                      <a:lnTo>
                        <a:pt x="67661" y="89818"/>
                      </a:lnTo>
                      <a:lnTo>
                        <a:pt x="62668" y="89818"/>
                      </a:lnTo>
                      <a:lnTo>
                        <a:pt x="59569" y="87272"/>
                      </a:lnTo>
                      <a:lnTo>
                        <a:pt x="54232" y="89818"/>
                      </a:lnTo>
                      <a:lnTo>
                        <a:pt x="47517" y="89454"/>
                      </a:lnTo>
                      <a:lnTo>
                        <a:pt x="43041" y="87818"/>
                      </a:lnTo>
                      <a:lnTo>
                        <a:pt x="37187" y="87272"/>
                      </a:lnTo>
                      <a:lnTo>
                        <a:pt x="34088" y="88909"/>
                      </a:lnTo>
                      <a:lnTo>
                        <a:pt x="30989" y="88181"/>
                      </a:lnTo>
                      <a:lnTo>
                        <a:pt x="27030" y="84000"/>
                      </a:lnTo>
                      <a:lnTo>
                        <a:pt x="24275" y="80545"/>
                      </a:lnTo>
                      <a:lnTo>
                        <a:pt x="22209" y="82363"/>
                      </a:lnTo>
                      <a:lnTo>
                        <a:pt x="21865" y="87636"/>
                      </a:lnTo>
                      <a:lnTo>
                        <a:pt x="19626" y="90000"/>
                      </a:lnTo>
                      <a:lnTo>
                        <a:pt x="17044" y="90000"/>
                      </a:lnTo>
                      <a:lnTo>
                        <a:pt x="15667" y="92727"/>
                      </a:lnTo>
                      <a:lnTo>
                        <a:pt x="20143" y="98545"/>
                      </a:lnTo>
                      <a:lnTo>
                        <a:pt x="17216" y="100363"/>
                      </a:lnTo>
                      <a:lnTo>
                        <a:pt x="11879" y="98000"/>
                      </a:lnTo>
                      <a:lnTo>
                        <a:pt x="7403" y="95272"/>
                      </a:lnTo>
                      <a:lnTo>
                        <a:pt x="6197" y="90545"/>
                      </a:lnTo>
                      <a:lnTo>
                        <a:pt x="2065" y="94181"/>
                      </a:lnTo>
                      <a:lnTo>
                        <a:pt x="688" y="101272"/>
                      </a:lnTo>
                      <a:lnTo>
                        <a:pt x="688" y="106181"/>
                      </a:lnTo>
                      <a:lnTo>
                        <a:pt x="0" y="110000"/>
                      </a:lnTo>
                      <a:lnTo>
                        <a:pt x="2754" y="111090"/>
                      </a:lnTo>
                      <a:lnTo>
                        <a:pt x="6714" y="115636"/>
                      </a:lnTo>
                      <a:lnTo>
                        <a:pt x="12912" y="120000"/>
                      </a:lnTo>
                      <a:lnTo>
                        <a:pt x="24275" y="118909"/>
                      </a:lnTo>
                      <a:lnTo>
                        <a:pt x="36671" y="118727"/>
                      </a:lnTo>
                      <a:lnTo>
                        <a:pt x="46484" y="118181"/>
                      </a:lnTo>
                      <a:lnTo>
                        <a:pt x="58364" y="114545"/>
                      </a:lnTo>
                      <a:lnTo>
                        <a:pt x="72998" y="110181"/>
                      </a:lnTo>
                      <a:lnTo>
                        <a:pt x="82123" y="107272"/>
                      </a:lnTo>
                      <a:lnTo>
                        <a:pt x="90387" y="105818"/>
                      </a:lnTo>
                      <a:lnTo>
                        <a:pt x="99856" y="105636"/>
                      </a:lnTo>
                      <a:lnTo>
                        <a:pt x="113285" y="110000"/>
                      </a:lnTo>
                      <a:lnTo>
                        <a:pt x="118967" y="110000"/>
                      </a:lnTo>
                      <a:lnTo>
                        <a:pt x="115695" y="100363"/>
                      </a:lnTo>
                      <a:lnTo>
                        <a:pt x="109670" y="84545"/>
                      </a:lnTo>
                      <a:lnTo>
                        <a:pt x="101922" y="80000"/>
                      </a:lnTo>
                      <a:lnTo>
                        <a:pt x="100373" y="70363"/>
                      </a:lnTo>
                      <a:lnTo>
                        <a:pt x="100373" y="59818"/>
                      </a:lnTo>
                      <a:lnTo>
                        <a:pt x="100373" y="54909"/>
                      </a:lnTo>
                      <a:lnTo>
                        <a:pt x="105538" y="46909"/>
                      </a:lnTo>
                      <a:lnTo>
                        <a:pt x="105365" y="40909"/>
                      </a:lnTo>
                      <a:lnTo>
                        <a:pt x="111563" y="27636"/>
                      </a:lnTo>
                      <a:lnTo>
                        <a:pt x="116728" y="16909"/>
                      </a:lnTo>
                      <a:lnTo>
                        <a:pt x="113802" y="9636"/>
                      </a:lnTo>
                      <a:lnTo>
                        <a:pt x="120000" y="2545"/>
                      </a:lnTo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36000" tIns="45700" rIns="36000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5" name="Shape 857"/>
                <p:cNvSpPr/>
                <p:nvPr/>
              </p:nvSpPr>
              <p:spPr>
                <a:xfrm>
                  <a:off x="3224790" y="3096896"/>
                  <a:ext cx="1280137" cy="11532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46094" y="7155"/>
                      </a:moveTo>
                      <a:lnTo>
                        <a:pt x="42746" y="19816"/>
                      </a:lnTo>
                      <a:lnTo>
                        <a:pt x="37339" y="21743"/>
                      </a:lnTo>
                      <a:lnTo>
                        <a:pt x="29613" y="21743"/>
                      </a:lnTo>
                      <a:lnTo>
                        <a:pt x="25236" y="22018"/>
                      </a:lnTo>
                      <a:lnTo>
                        <a:pt x="20600" y="26146"/>
                      </a:lnTo>
                      <a:lnTo>
                        <a:pt x="14420" y="32477"/>
                      </a:lnTo>
                      <a:lnTo>
                        <a:pt x="10300" y="37981"/>
                      </a:lnTo>
                      <a:lnTo>
                        <a:pt x="7982" y="39908"/>
                      </a:lnTo>
                      <a:lnTo>
                        <a:pt x="6952" y="47339"/>
                      </a:lnTo>
                      <a:lnTo>
                        <a:pt x="6952" y="54495"/>
                      </a:lnTo>
                      <a:lnTo>
                        <a:pt x="3862" y="63853"/>
                      </a:lnTo>
                      <a:lnTo>
                        <a:pt x="515" y="70733"/>
                      </a:lnTo>
                      <a:lnTo>
                        <a:pt x="0" y="74311"/>
                      </a:lnTo>
                      <a:lnTo>
                        <a:pt x="3347" y="74587"/>
                      </a:lnTo>
                      <a:lnTo>
                        <a:pt x="4892" y="78165"/>
                      </a:lnTo>
                      <a:lnTo>
                        <a:pt x="11330" y="79816"/>
                      </a:lnTo>
                      <a:lnTo>
                        <a:pt x="11587" y="87522"/>
                      </a:lnTo>
                      <a:lnTo>
                        <a:pt x="19313" y="92201"/>
                      </a:lnTo>
                      <a:lnTo>
                        <a:pt x="21888" y="96055"/>
                      </a:lnTo>
                      <a:lnTo>
                        <a:pt x="21373" y="100733"/>
                      </a:lnTo>
                      <a:lnTo>
                        <a:pt x="19055" y="102935"/>
                      </a:lnTo>
                      <a:lnTo>
                        <a:pt x="22403" y="108440"/>
                      </a:lnTo>
                      <a:lnTo>
                        <a:pt x="26781" y="112293"/>
                      </a:lnTo>
                      <a:lnTo>
                        <a:pt x="29871" y="109541"/>
                      </a:lnTo>
                      <a:lnTo>
                        <a:pt x="31673" y="106238"/>
                      </a:lnTo>
                      <a:lnTo>
                        <a:pt x="36051" y="107339"/>
                      </a:lnTo>
                      <a:lnTo>
                        <a:pt x="40171" y="109266"/>
                      </a:lnTo>
                      <a:lnTo>
                        <a:pt x="44549" y="108990"/>
                      </a:lnTo>
                      <a:lnTo>
                        <a:pt x="49442" y="111467"/>
                      </a:lnTo>
                      <a:lnTo>
                        <a:pt x="50214" y="115871"/>
                      </a:lnTo>
                      <a:lnTo>
                        <a:pt x="50987" y="118073"/>
                      </a:lnTo>
                      <a:lnTo>
                        <a:pt x="55879" y="116422"/>
                      </a:lnTo>
                      <a:lnTo>
                        <a:pt x="60000" y="115321"/>
                      </a:lnTo>
                      <a:lnTo>
                        <a:pt x="62060" y="115596"/>
                      </a:lnTo>
                      <a:lnTo>
                        <a:pt x="67725" y="116697"/>
                      </a:lnTo>
                      <a:lnTo>
                        <a:pt x="75193" y="120000"/>
                      </a:lnTo>
                      <a:lnTo>
                        <a:pt x="75193" y="116697"/>
                      </a:lnTo>
                      <a:lnTo>
                        <a:pt x="79055" y="110917"/>
                      </a:lnTo>
                      <a:lnTo>
                        <a:pt x="90901" y="105137"/>
                      </a:lnTo>
                      <a:lnTo>
                        <a:pt x="100171" y="98532"/>
                      </a:lnTo>
                      <a:lnTo>
                        <a:pt x="107124" y="86422"/>
                      </a:lnTo>
                      <a:lnTo>
                        <a:pt x="112274" y="75412"/>
                      </a:lnTo>
                      <a:lnTo>
                        <a:pt x="112274" y="70183"/>
                      </a:lnTo>
                      <a:lnTo>
                        <a:pt x="111244" y="62201"/>
                      </a:lnTo>
                      <a:lnTo>
                        <a:pt x="115879" y="48165"/>
                      </a:lnTo>
                      <a:lnTo>
                        <a:pt x="112274" y="45688"/>
                      </a:lnTo>
                      <a:lnTo>
                        <a:pt x="111759" y="41559"/>
                      </a:lnTo>
                      <a:lnTo>
                        <a:pt x="113304" y="30825"/>
                      </a:lnTo>
                      <a:lnTo>
                        <a:pt x="112017" y="21467"/>
                      </a:lnTo>
                      <a:lnTo>
                        <a:pt x="120000" y="17889"/>
                      </a:lnTo>
                      <a:lnTo>
                        <a:pt x="117939" y="14587"/>
                      </a:lnTo>
                      <a:lnTo>
                        <a:pt x="113562" y="12385"/>
                      </a:lnTo>
                      <a:lnTo>
                        <a:pt x="101974" y="9908"/>
                      </a:lnTo>
                      <a:lnTo>
                        <a:pt x="91931" y="9357"/>
                      </a:lnTo>
                      <a:lnTo>
                        <a:pt x="88841" y="8807"/>
                      </a:lnTo>
                      <a:lnTo>
                        <a:pt x="84206" y="5504"/>
                      </a:lnTo>
                      <a:lnTo>
                        <a:pt x="79570" y="0"/>
                      </a:lnTo>
                      <a:lnTo>
                        <a:pt x="72618" y="1926"/>
                      </a:lnTo>
                      <a:lnTo>
                        <a:pt x="67467" y="8532"/>
                      </a:lnTo>
                      <a:lnTo>
                        <a:pt x="61802" y="12660"/>
                      </a:lnTo>
                      <a:lnTo>
                        <a:pt x="57939" y="12385"/>
                      </a:lnTo>
                      <a:lnTo>
                        <a:pt x="51502" y="9357"/>
                      </a:lnTo>
                      <a:lnTo>
                        <a:pt x="46094" y="7155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6" name="Shape 858"/>
                <p:cNvSpPr/>
                <p:nvPr/>
              </p:nvSpPr>
              <p:spPr>
                <a:xfrm>
                  <a:off x="2696514" y="3543282"/>
                  <a:ext cx="1082443" cy="84733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20000" y="96894"/>
                      </a:moveTo>
                      <a:lnTo>
                        <a:pt x="114822" y="96521"/>
                      </a:lnTo>
                      <a:lnTo>
                        <a:pt x="106294" y="94658"/>
                      </a:lnTo>
                      <a:lnTo>
                        <a:pt x="99289" y="93913"/>
                      </a:lnTo>
                      <a:lnTo>
                        <a:pt x="94720" y="94658"/>
                      </a:lnTo>
                      <a:lnTo>
                        <a:pt x="90152" y="101739"/>
                      </a:lnTo>
                      <a:lnTo>
                        <a:pt x="87411" y="104347"/>
                      </a:lnTo>
                      <a:lnTo>
                        <a:pt x="84060" y="112546"/>
                      </a:lnTo>
                      <a:lnTo>
                        <a:pt x="80710" y="120000"/>
                      </a:lnTo>
                      <a:lnTo>
                        <a:pt x="71878" y="120000"/>
                      </a:lnTo>
                      <a:lnTo>
                        <a:pt x="58172" y="119627"/>
                      </a:lnTo>
                      <a:lnTo>
                        <a:pt x="34416" y="118509"/>
                      </a:lnTo>
                      <a:lnTo>
                        <a:pt x="33502" y="115527"/>
                      </a:lnTo>
                      <a:lnTo>
                        <a:pt x="31675" y="112919"/>
                      </a:lnTo>
                      <a:lnTo>
                        <a:pt x="27715" y="108074"/>
                      </a:lnTo>
                      <a:lnTo>
                        <a:pt x="26497" y="105465"/>
                      </a:lnTo>
                      <a:lnTo>
                        <a:pt x="24060" y="102111"/>
                      </a:lnTo>
                      <a:lnTo>
                        <a:pt x="22233" y="97267"/>
                      </a:lnTo>
                      <a:lnTo>
                        <a:pt x="20710" y="93167"/>
                      </a:lnTo>
                      <a:lnTo>
                        <a:pt x="18274" y="89813"/>
                      </a:lnTo>
                      <a:lnTo>
                        <a:pt x="15837" y="86832"/>
                      </a:lnTo>
                      <a:lnTo>
                        <a:pt x="15837" y="81242"/>
                      </a:lnTo>
                      <a:lnTo>
                        <a:pt x="18578" y="77142"/>
                      </a:lnTo>
                      <a:lnTo>
                        <a:pt x="20101" y="71552"/>
                      </a:lnTo>
                      <a:lnTo>
                        <a:pt x="20406" y="66708"/>
                      </a:lnTo>
                      <a:lnTo>
                        <a:pt x="18578" y="59254"/>
                      </a:lnTo>
                      <a:lnTo>
                        <a:pt x="15532" y="52173"/>
                      </a:lnTo>
                      <a:lnTo>
                        <a:pt x="16751" y="42857"/>
                      </a:lnTo>
                      <a:lnTo>
                        <a:pt x="15532" y="38385"/>
                      </a:lnTo>
                      <a:lnTo>
                        <a:pt x="11573" y="35403"/>
                      </a:lnTo>
                      <a:lnTo>
                        <a:pt x="7918" y="30931"/>
                      </a:lnTo>
                      <a:lnTo>
                        <a:pt x="13401" y="28695"/>
                      </a:lnTo>
                      <a:lnTo>
                        <a:pt x="15228" y="28322"/>
                      </a:lnTo>
                      <a:lnTo>
                        <a:pt x="11573" y="24968"/>
                      </a:lnTo>
                      <a:lnTo>
                        <a:pt x="7918" y="24596"/>
                      </a:lnTo>
                      <a:lnTo>
                        <a:pt x="2131" y="27950"/>
                      </a:lnTo>
                      <a:lnTo>
                        <a:pt x="0" y="29068"/>
                      </a:lnTo>
                      <a:lnTo>
                        <a:pt x="3045" y="19751"/>
                      </a:lnTo>
                      <a:lnTo>
                        <a:pt x="5482" y="15652"/>
                      </a:lnTo>
                      <a:lnTo>
                        <a:pt x="8527" y="7080"/>
                      </a:lnTo>
                      <a:lnTo>
                        <a:pt x="15532" y="3354"/>
                      </a:lnTo>
                      <a:lnTo>
                        <a:pt x="27715" y="0"/>
                      </a:lnTo>
                      <a:lnTo>
                        <a:pt x="31675" y="1118"/>
                      </a:lnTo>
                      <a:lnTo>
                        <a:pt x="28629" y="8944"/>
                      </a:lnTo>
                      <a:lnTo>
                        <a:pt x="27411" y="17515"/>
                      </a:lnTo>
                      <a:lnTo>
                        <a:pt x="28629" y="24596"/>
                      </a:lnTo>
                      <a:lnTo>
                        <a:pt x="34111" y="32422"/>
                      </a:lnTo>
                      <a:lnTo>
                        <a:pt x="39289" y="39130"/>
                      </a:lnTo>
                      <a:lnTo>
                        <a:pt x="48426" y="41366"/>
                      </a:lnTo>
                      <a:lnTo>
                        <a:pt x="53908" y="38385"/>
                      </a:lnTo>
                      <a:lnTo>
                        <a:pt x="58172" y="36894"/>
                      </a:lnTo>
                      <a:lnTo>
                        <a:pt x="62741" y="37639"/>
                      </a:lnTo>
                      <a:lnTo>
                        <a:pt x="65177" y="41366"/>
                      </a:lnTo>
                      <a:lnTo>
                        <a:pt x="73705" y="44720"/>
                      </a:lnTo>
                      <a:lnTo>
                        <a:pt x="74010" y="55155"/>
                      </a:lnTo>
                      <a:lnTo>
                        <a:pt x="78274" y="58136"/>
                      </a:lnTo>
                      <a:lnTo>
                        <a:pt x="83756" y="62608"/>
                      </a:lnTo>
                      <a:lnTo>
                        <a:pt x="84974" y="69689"/>
                      </a:lnTo>
                      <a:lnTo>
                        <a:pt x="83451" y="74906"/>
                      </a:lnTo>
                      <a:lnTo>
                        <a:pt x="84060" y="79378"/>
                      </a:lnTo>
                      <a:lnTo>
                        <a:pt x="89847" y="87577"/>
                      </a:lnTo>
                      <a:lnTo>
                        <a:pt x="92588" y="89068"/>
                      </a:lnTo>
                      <a:lnTo>
                        <a:pt x="96852" y="81987"/>
                      </a:lnTo>
                      <a:lnTo>
                        <a:pt x="100507" y="80124"/>
                      </a:lnTo>
                      <a:lnTo>
                        <a:pt x="105685" y="84596"/>
                      </a:lnTo>
                      <a:lnTo>
                        <a:pt x="114213" y="84968"/>
                      </a:lnTo>
                      <a:lnTo>
                        <a:pt x="118172" y="88322"/>
                      </a:lnTo>
                      <a:lnTo>
                        <a:pt x="120000" y="96894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7" name="Shape 859"/>
                <p:cNvSpPr/>
                <p:nvPr/>
              </p:nvSpPr>
              <p:spPr>
                <a:xfrm>
                  <a:off x="2202132" y="2956375"/>
                  <a:ext cx="1530126" cy="142177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0" y="69450"/>
                      </a:moveTo>
                      <a:lnTo>
                        <a:pt x="5385" y="67472"/>
                      </a:lnTo>
                      <a:lnTo>
                        <a:pt x="6678" y="62857"/>
                      </a:lnTo>
                      <a:lnTo>
                        <a:pt x="5385" y="58681"/>
                      </a:lnTo>
                      <a:lnTo>
                        <a:pt x="5170" y="56703"/>
                      </a:lnTo>
                      <a:lnTo>
                        <a:pt x="6678" y="51648"/>
                      </a:lnTo>
                      <a:lnTo>
                        <a:pt x="7971" y="45494"/>
                      </a:lnTo>
                      <a:lnTo>
                        <a:pt x="9910" y="39120"/>
                      </a:lnTo>
                      <a:lnTo>
                        <a:pt x="14865" y="34945"/>
                      </a:lnTo>
                      <a:lnTo>
                        <a:pt x="19605" y="30549"/>
                      </a:lnTo>
                      <a:lnTo>
                        <a:pt x="21759" y="28351"/>
                      </a:lnTo>
                      <a:lnTo>
                        <a:pt x="27791" y="27472"/>
                      </a:lnTo>
                      <a:lnTo>
                        <a:pt x="37701" y="28571"/>
                      </a:lnTo>
                      <a:lnTo>
                        <a:pt x="47612" y="29890"/>
                      </a:lnTo>
                      <a:lnTo>
                        <a:pt x="56445" y="31648"/>
                      </a:lnTo>
                      <a:lnTo>
                        <a:pt x="66570" y="32307"/>
                      </a:lnTo>
                      <a:lnTo>
                        <a:pt x="73249" y="32307"/>
                      </a:lnTo>
                      <a:lnTo>
                        <a:pt x="82513" y="28791"/>
                      </a:lnTo>
                      <a:lnTo>
                        <a:pt x="88114" y="21538"/>
                      </a:lnTo>
                      <a:lnTo>
                        <a:pt x="90915" y="12087"/>
                      </a:lnTo>
                      <a:lnTo>
                        <a:pt x="94362" y="1978"/>
                      </a:lnTo>
                      <a:lnTo>
                        <a:pt x="98025" y="0"/>
                      </a:lnTo>
                      <a:lnTo>
                        <a:pt x="103195" y="0"/>
                      </a:lnTo>
                      <a:lnTo>
                        <a:pt x="106211" y="3076"/>
                      </a:lnTo>
                      <a:lnTo>
                        <a:pt x="112459" y="1758"/>
                      </a:lnTo>
                      <a:lnTo>
                        <a:pt x="113321" y="7032"/>
                      </a:lnTo>
                      <a:lnTo>
                        <a:pt x="113536" y="9890"/>
                      </a:lnTo>
                      <a:lnTo>
                        <a:pt x="116122" y="13186"/>
                      </a:lnTo>
                      <a:lnTo>
                        <a:pt x="120000" y="16703"/>
                      </a:lnTo>
                      <a:lnTo>
                        <a:pt x="117630" y="24175"/>
                      </a:lnTo>
                      <a:lnTo>
                        <a:pt x="116337" y="27692"/>
                      </a:lnTo>
                      <a:lnTo>
                        <a:pt x="115044" y="29010"/>
                      </a:lnTo>
                      <a:lnTo>
                        <a:pt x="111382" y="29010"/>
                      </a:lnTo>
                      <a:lnTo>
                        <a:pt x="107719" y="29670"/>
                      </a:lnTo>
                      <a:lnTo>
                        <a:pt x="103411" y="29670"/>
                      </a:lnTo>
                      <a:lnTo>
                        <a:pt x="101256" y="30549"/>
                      </a:lnTo>
                      <a:lnTo>
                        <a:pt x="95870" y="34945"/>
                      </a:lnTo>
                      <a:lnTo>
                        <a:pt x="87253" y="45494"/>
                      </a:lnTo>
                      <a:lnTo>
                        <a:pt x="86822" y="52527"/>
                      </a:lnTo>
                      <a:lnTo>
                        <a:pt x="86175" y="58901"/>
                      </a:lnTo>
                      <a:lnTo>
                        <a:pt x="81220" y="70109"/>
                      </a:lnTo>
                      <a:lnTo>
                        <a:pt x="80574" y="71648"/>
                      </a:lnTo>
                      <a:lnTo>
                        <a:pt x="75834" y="73186"/>
                      </a:lnTo>
                      <a:lnTo>
                        <a:pt x="71095" y="74505"/>
                      </a:lnTo>
                      <a:lnTo>
                        <a:pt x="68294" y="73626"/>
                      </a:lnTo>
                      <a:lnTo>
                        <a:pt x="66570" y="72307"/>
                      </a:lnTo>
                      <a:lnTo>
                        <a:pt x="63554" y="70329"/>
                      </a:lnTo>
                      <a:lnTo>
                        <a:pt x="60969" y="67032"/>
                      </a:lnTo>
                      <a:lnTo>
                        <a:pt x="59461" y="64395"/>
                      </a:lnTo>
                      <a:lnTo>
                        <a:pt x="58599" y="60219"/>
                      </a:lnTo>
                      <a:lnTo>
                        <a:pt x="58384" y="56263"/>
                      </a:lnTo>
                      <a:lnTo>
                        <a:pt x="60323" y="52747"/>
                      </a:lnTo>
                      <a:lnTo>
                        <a:pt x="61400" y="50109"/>
                      </a:lnTo>
                      <a:lnTo>
                        <a:pt x="59030" y="49670"/>
                      </a:lnTo>
                      <a:lnTo>
                        <a:pt x="53644" y="50989"/>
                      </a:lnTo>
                      <a:lnTo>
                        <a:pt x="48043" y="52967"/>
                      </a:lnTo>
                      <a:lnTo>
                        <a:pt x="45242" y="52967"/>
                      </a:lnTo>
                      <a:lnTo>
                        <a:pt x="43518" y="56923"/>
                      </a:lnTo>
                      <a:lnTo>
                        <a:pt x="41364" y="60439"/>
                      </a:lnTo>
                      <a:lnTo>
                        <a:pt x="39210" y="63516"/>
                      </a:lnTo>
                      <a:lnTo>
                        <a:pt x="38132" y="66813"/>
                      </a:lnTo>
                      <a:lnTo>
                        <a:pt x="41364" y="66153"/>
                      </a:lnTo>
                      <a:lnTo>
                        <a:pt x="43949" y="64835"/>
                      </a:lnTo>
                      <a:lnTo>
                        <a:pt x="46535" y="65054"/>
                      </a:lnTo>
                      <a:lnTo>
                        <a:pt x="49766" y="66593"/>
                      </a:lnTo>
                      <a:lnTo>
                        <a:pt x="46319" y="67472"/>
                      </a:lnTo>
                      <a:lnTo>
                        <a:pt x="45026" y="67692"/>
                      </a:lnTo>
                      <a:lnTo>
                        <a:pt x="46535" y="70109"/>
                      </a:lnTo>
                      <a:lnTo>
                        <a:pt x="49766" y="72307"/>
                      </a:lnTo>
                      <a:lnTo>
                        <a:pt x="50197" y="76923"/>
                      </a:lnTo>
                      <a:lnTo>
                        <a:pt x="50197" y="78461"/>
                      </a:lnTo>
                      <a:lnTo>
                        <a:pt x="50843" y="80659"/>
                      </a:lnTo>
                      <a:lnTo>
                        <a:pt x="51490" y="84835"/>
                      </a:lnTo>
                      <a:lnTo>
                        <a:pt x="52782" y="89670"/>
                      </a:lnTo>
                      <a:lnTo>
                        <a:pt x="51921" y="93846"/>
                      </a:lnTo>
                      <a:lnTo>
                        <a:pt x="49766" y="99340"/>
                      </a:lnTo>
                      <a:lnTo>
                        <a:pt x="50843" y="101978"/>
                      </a:lnTo>
                      <a:lnTo>
                        <a:pt x="52998" y="105934"/>
                      </a:lnTo>
                      <a:lnTo>
                        <a:pt x="55798" y="109450"/>
                      </a:lnTo>
                      <a:lnTo>
                        <a:pt x="59676" y="115604"/>
                      </a:lnTo>
                      <a:lnTo>
                        <a:pt x="63339" y="119999"/>
                      </a:lnTo>
                      <a:lnTo>
                        <a:pt x="55798" y="119999"/>
                      </a:lnTo>
                      <a:lnTo>
                        <a:pt x="45457" y="119340"/>
                      </a:lnTo>
                      <a:lnTo>
                        <a:pt x="27791" y="118901"/>
                      </a:lnTo>
                      <a:lnTo>
                        <a:pt x="16588" y="118241"/>
                      </a:lnTo>
                      <a:lnTo>
                        <a:pt x="15511" y="114725"/>
                      </a:lnTo>
                      <a:lnTo>
                        <a:pt x="14219" y="111208"/>
                      </a:lnTo>
                      <a:lnTo>
                        <a:pt x="11633" y="110769"/>
                      </a:lnTo>
                      <a:lnTo>
                        <a:pt x="9910" y="109230"/>
                      </a:lnTo>
                      <a:lnTo>
                        <a:pt x="9479" y="105494"/>
                      </a:lnTo>
                      <a:lnTo>
                        <a:pt x="10341" y="100219"/>
                      </a:lnTo>
                      <a:lnTo>
                        <a:pt x="12064" y="97142"/>
                      </a:lnTo>
                      <a:lnTo>
                        <a:pt x="15727" y="95824"/>
                      </a:lnTo>
                      <a:lnTo>
                        <a:pt x="20897" y="94285"/>
                      </a:lnTo>
                      <a:lnTo>
                        <a:pt x="21974" y="91648"/>
                      </a:lnTo>
                      <a:lnTo>
                        <a:pt x="24991" y="89890"/>
                      </a:lnTo>
                      <a:lnTo>
                        <a:pt x="23052" y="87692"/>
                      </a:lnTo>
                      <a:lnTo>
                        <a:pt x="24775" y="84615"/>
                      </a:lnTo>
                      <a:lnTo>
                        <a:pt x="24129" y="82637"/>
                      </a:lnTo>
                      <a:lnTo>
                        <a:pt x="21974" y="81538"/>
                      </a:lnTo>
                      <a:lnTo>
                        <a:pt x="19820" y="80659"/>
                      </a:lnTo>
                      <a:lnTo>
                        <a:pt x="18096" y="80659"/>
                      </a:lnTo>
                      <a:lnTo>
                        <a:pt x="17450" y="77362"/>
                      </a:lnTo>
                      <a:lnTo>
                        <a:pt x="19174" y="74505"/>
                      </a:lnTo>
                      <a:lnTo>
                        <a:pt x="22405" y="70769"/>
                      </a:lnTo>
                      <a:lnTo>
                        <a:pt x="22836" y="68351"/>
                      </a:lnTo>
                      <a:lnTo>
                        <a:pt x="26068" y="67692"/>
                      </a:lnTo>
                      <a:lnTo>
                        <a:pt x="32100" y="69230"/>
                      </a:lnTo>
                      <a:lnTo>
                        <a:pt x="35763" y="70769"/>
                      </a:lnTo>
                      <a:lnTo>
                        <a:pt x="38779" y="70989"/>
                      </a:lnTo>
                      <a:lnTo>
                        <a:pt x="42441" y="69230"/>
                      </a:lnTo>
                      <a:lnTo>
                        <a:pt x="37701" y="68351"/>
                      </a:lnTo>
                      <a:lnTo>
                        <a:pt x="34254" y="66813"/>
                      </a:lnTo>
                      <a:lnTo>
                        <a:pt x="30807" y="65934"/>
                      </a:lnTo>
                      <a:cubicBezTo>
                        <a:pt x="29299" y="65164"/>
                        <a:pt x="27791" y="64615"/>
                        <a:pt x="26068" y="64615"/>
                      </a:cubicBezTo>
                      <a:lnTo>
                        <a:pt x="20897" y="65934"/>
                      </a:lnTo>
                      <a:lnTo>
                        <a:pt x="18743" y="70109"/>
                      </a:lnTo>
                      <a:lnTo>
                        <a:pt x="16588" y="72527"/>
                      </a:lnTo>
                      <a:lnTo>
                        <a:pt x="14003" y="76043"/>
                      </a:lnTo>
                      <a:lnTo>
                        <a:pt x="13141" y="79120"/>
                      </a:lnTo>
                      <a:lnTo>
                        <a:pt x="11633" y="79340"/>
                      </a:lnTo>
                      <a:lnTo>
                        <a:pt x="10125" y="76923"/>
                      </a:lnTo>
                      <a:lnTo>
                        <a:pt x="6463" y="73406"/>
                      </a:lnTo>
                      <a:lnTo>
                        <a:pt x="1077" y="71208"/>
                      </a:lnTo>
                      <a:lnTo>
                        <a:pt x="0" y="6945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72000" tIns="45700" rIns="91425" bIns="45700" anchor="ctr" anchorCtr="0">
                  <a:noAutofit/>
                </a:bodyPr>
                <a:lstStyle/>
                <a:p>
                  <a:pPr marL="0" marR="0" lvl="0" indent="26670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8" name="Shape 860"/>
                <p:cNvSpPr/>
                <p:nvPr/>
              </p:nvSpPr>
              <p:spPr>
                <a:xfrm>
                  <a:off x="2383439" y="2884965"/>
                  <a:ext cx="1016418" cy="4575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108" y="110982"/>
                      </a:moveTo>
                      <a:lnTo>
                        <a:pt x="2270" y="103352"/>
                      </a:lnTo>
                      <a:lnTo>
                        <a:pt x="0" y="95028"/>
                      </a:lnTo>
                      <a:lnTo>
                        <a:pt x="3243" y="80462"/>
                      </a:lnTo>
                      <a:lnTo>
                        <a:pt x="5837" y="67283"/>
                      </a:lnTo>
                      <a:lnTo>
                        <a:pt x="6810" y="57572"/>
                      </a:lnTo>
                      <a:lnTo>
                        <a:pt x="4864" y="47861"/>
                      </a:lnTo>
                      <a:lnTo>
                        <a:pt x="2270" y="39537"/>
                      </a:lnTo>
                      <a:lnTo>
                        <a:pt x="1945" y="30520"/>
                      </a:lnTo>
                      <a:lnTo>
                        <a:pt x="7135" y="27745"/>
                      </a:lnTo>
                      <a:lnTo>
                        <a:pt x="14918" y="19421"/>
                      </a:lnTo>
                      <a:lnTo>
                        <a:pt x="21729" y="7630"/>
                      </a:lnTo>
                      <a:lnTo>
                        <a:pt x="32756" y="2774"/>
                      </a:lnTo>
                      <a:lnTo>
                        <a:pt x="43135" y="0"/>
                      </a:lnTo>
                      <a:lnTo>
                        <a:pt x="58054" y="7630"/>
                      </a:lnTo>
                      <a:lnTo>
                        <a:pt x="66810" y="12485"/>
                      </a:lnTo>
                      <a:lnTo>
                        <a:pt x="75891" y="11791"/>
                      </a:lnTo>
                      <a:lnTo>
                        <a:pt x="86918" y="16647"/>
                      </a:lnTo>
                      <a:lnTo>
                        <a:pt x="105081" y="19421"/>
                      </a:lnTo>
                      <a:lnTo>
                        <a:pt x="120000" y="26358"/>
                      </a:lnTo>
                      <a:lnTo>
                        <a:pt x="118054" y="41618"/>
                      </a:lnTo>
                      <a:lnTo>
                        <a:pt x="113189" y="69364"/>
                      </a:lnTo>
                      <a:lnTo>
                        <a:pt x="109945" y="90867"/>
                      </a:lnTo>
                      <a:lnTo>
                        <a:pt x="102810" y="106820"/>
                      </a:lnTo>
                      <a:lnTo>
                        <a:pt x="92756" y="117919"/>
                      </a:lnTo>
                      <a:lnTo>
                        <a:pt x="83351" y="120000"/>
                      </a:lnTo>
                      <a:lnTo>
                        <a:pt x="66486" y="118612"/>
                      </a:lnTo>
                      <a:lnTo>
                        <a:pt x="52864" y="113757"/>
                      </a:lnTo>
                      <a:lnTo>
                        <a:pt x="38594" y="109595"/>
                      </a:lnTo>
                      <a:lnTo>
                        <a:pt x="28216" y="106820"/>
                      </a:lnTo>
                      <a:lnTo>
                        <a:pt x="20756" y="105433"/>
                      </a:lnTo>
                      <a:lnTo>
                        <a:pt x="13945" y="106820"/>
                      </a:lnTo>
                      <a:lnTo>
                        <a:pt x="8108" y="110982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9" name="Shape 861"/>
                <p:cNvSpPr/>
                <p:nvPr/>
              </p:nvSpPr>
              <p:spPr>
                <a:xfrm>
                  <a:off x="1897206" y="2324240"/>
                  <a:ext cx="1126298" cy="147323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61463" y="0"/>
                      </a:moveTo>
                      <a:lnTo>
                        <a:pt x="53853" y="4739"/>
                      </a:lnTo>
                      <a:lnTo>
                        <a:pt x="47121" y="11202"/>
                      </a:lnTo>
                      <a:lnTo>
                        <a:pt x="42146" y="16373"/>
                      </a:lnTo>
                      <a:lnTo>
                        <a:pt x="38341" y="22621"/>
                      </a:lnTo>
                      <a:lnTo>
                        <a:pt x="36585" y="26929"/>
                      </a:lnTo>
                      <a:lnTo>
                        <a:pt x="33658" y="29084"/>
                      </a:lnTo>
                      <a:lnTo>
                        <a:pt x="28390" y="31454"/>
                      </a:lnTo>
                      <a:lnTo>
                        <a:pt x="26341" y="33393"/>
                      </a:lnTo>
                      <a:lnTo>
                        <a:pt x="21365" y="36193"/>
                      </a:lnTo>
                      <a:lnTo>
                        <a:pt x="18439" y="38563"/>
                      </a:lnTo>
                      <a:lnTo>
                        <a:pt x="17560" y="40718"/>
                      </a:lnTo>
                      <a:lnTo>
                        <a:pt x="11707" y="42657"/>
                      </a:lnTo>
                      <a:lnTo>
                        <a:pt x="4390" y="47181"/>
                      </a:lnTo>
                      <a:lnTo>
                        <a:pt x="0" y="51274"/>
                      </a:lnTo>
                      <a:lnTo>
                        <a:pt x="3219" y="54075"/>
                      </a:lnTo>
                      <a:lnTo>
                        <a:pt x="8487" y="58384"/>
                      </a:lnTo>
                      <a:lnTo>
                        <a:pt x="12000" y="63554"/>
                      </a:lnTo>
                      <a:lnTo>
                        <a:pt x="13170" y="70879"/>
                      </a:lnTo>
                      <a:lnTo>
                        <a:pt x="13170" y="77342"/>
                      </a:lnTo>
                      <a:lnTo>
                        <a:pt x="9658" y="83590"/>
                      </a:lnTo>
                      <a:lnTo>
                        <a:pt x="6146" y="87253"/>
                      </a:lnTo>
                      <a:lnTo>
                        <a:pt x="8780" y="89838"/>
                      </a:lnTo>
                      <a:lnTo>
                        <a:pt x="13463" y="91777"/>
                      </a:lnTo>
                      <a:lnTo>
                        <a:pt x="19317" y="93931"/>
                      </a:lnTo>
                      <a:lnTo>
                        <a:pt x="21951" y="98456"/>
                      </a:lnTo>
                      <a:lnTo>
                        <a:pt x="23707" y="108366"/>
                      </a:lnTo>
                      <a:lnTo>
                        <a:pt x="26634" y="111382"/>
                      </a:lnTo>
                      <a:lnTo>
                        <a:pt x="31024" y="120000"/>
                      </a:lnTo>
                      <a:lnTo>
                        <a:pt x="34829" y="118707"/>
                      </a:lnTo>
                      <a:lnTo>
                        <a:pt x="39512" y="117414"/>
                      </a:lnTo>
                      <a:lnTo>
                        <a:pt x="41268" y="113321"/>
                      </a:lnTo>
                      <a:lnTo>
                        <a:pt x="39512" y="107935"/>
                      </a:lnTo>
                      <a:lnTo>
                        <a:pt x="41560" y="100610"/>
                      </a:lnTo>
                      <a:lnTo>
                        <a:pt x="44487" y="92208"/>
                      </a:lnTo>
                      <a:lnTo>
                        <a:pt x="47414" y="88761"/>
                      </a:lnTo>
                      <a:lnTo>
                        <a:pt x="56195" y="83375"/>
                      </a:lnTo>
                      <a:lnTo>
                        <a:pt x="60000" y="80359"/>
                      </a:lnTo>
                      <a:lnTo>
                        <a:pt x="55902" y="77989"/>
                      </a:lnTo>
                      <a:lnTo>
                        <a:pt x="52390" y="76481"/>
                      </a:lnTo>
                      <a:lnTo>
                        <a:pt x="52097" y="74111"/>
                      </a:lnTo>
                      <a:lnTo>
                        <a:pt x="54146" y="71095"/>
                      </a:lnTo>
                      <a:lnTo>
                        <a:pt x="57365" y="67432"/>
                      </a:lnTo>
                      <a:lnTo>
                        <a:pt x="57658" y="63123"/>
                      </a:lnTo>
                      <a:lnTo>
                        <a:pt x="55024" y="58815"/>
                      </a:lnTo>
                      <a:lnTo>
                        <a:pt x="52975" y="54937"/>
                      </a:lnTo>
                      <a:lnTo>
                        <a:pt x="57365" y="54290"/>
                      </a:lnTo>
                      <a:lnTo>
                        <a:pt x="65268" y="51059"/>
                      </a:lnTo>
                      <a:lnTo>
                        <a:pt x="71121" y="47827"/>
                      </a:lnTo>
                      <a:lnTo>
                        <a:pt x="84292" y="46104"/>
                      </a:lnTo>
                      <a:lnTo>
                        <a:pt x="90731" y="45673"/>
                      </a:lnTo>
                      <a:lnTo>
                        <a:pt x="99219" y="47396"/>
                      </a:lnTo>
                      <a:lnTo>
                        <a:pt x="112097" y="49120"/>
                      </a:lnTo>
                      <a:lnTo>
                        <a:pt x="120000" y="49120"/>
                      </a:lnTo>
                      <a:lnTo>
                        <a:pt x="118829" y="43518"/>
                      </a:lnTo>
                      <a:lnTo>
                        <a:pt x="119414" y="31023"/>
                      </a:lnTo>
                      <a:lnTo>
                        <a:pt x="113268" y="27576"/>
                      </a:lnTo>
                      <a:lnTo>
                        <a:pt x="102439" y="22405"/>
                      </a:lnTo>
                      <a:lnTo>
                        <a:pt x="97170" y="13141"/>
                      </a:lnTo>
                      <a:lnTo>
                        <a:pt x="92780" y="15511"/>
                      </a:lnTo>
                      <a:lnTo>
                        <a:pt x="88390" y="18096"/>
                      </a:lnTo>
                      <a:lnTo>
                        <a:pt x="84292" y="20682"/>
                      </a:lnTo>
                      <a:lnTo>
                        <a:pt x="81658" y="22621"/>
                      </a:lnTo>
                      <a:lnTo>
                        <a:pt x="78731" y="24775"/>
                      </a:lnTo>
                      <a:lnTo>
                        <a:pt x="70536" y="30161"/>
                      </a:lnTo>
                      <a:lnTo>
                        <a:pt x="62634" y="27145"/>
                      </a:lnTo>
                      <a:lnTo>
                        <a:pt x="56487" y="24775"/>
                      </a:lnTo>
                      <a:lnTo>
                        <a:pt x="51804" y="21328"/>
                      </a:lnTo>
                      <a:lnTo>
                        <a:pt x="51804" y="18743"/>
                      </a:lnTo>
                      <a:lnTo>
                        <a:pt x="59414" y="11418"/>
                      </a:lnTo>
                      <a:lnTo>
                        <a:pt x="63219" y="5385"/>
                      </a:lnTo>
                      <a:lnTo>
                        <a:pt x="61463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144000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60" name="Shape 862"/>
                <p:cNvSpPr/>
                <p:nvPr/>
              </p:nvSpPr>
              <p:spPr>
                <a:xfrm>
                  <a:off x="1537340" y="2956376"/>
                  <a:ext cx="486235" cy="44435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6779" y="0"/>
                      </a:moveTo>
                      <a:lnTo>
                        <a:pt x="63728" y="10714"/>
                      </a:lnTo>
                      <a:lnTo>
                        <a:pt x="47457" y="22142"/>
                      </a:lnTo>
                      <a:lnTo>
                        <a:pt x="36610" y="33571"/>
                      </a:lnTo>
                      <a:lnTo>
                        <a:pt x="17627" y="36428"/>
                      </a:lnTo>
                      <a:lnTo>
                        <a:pt x="3389" y="38571"/>
                      </a:lnTo>
                      <a:lnTo>
                        <a:pt x="0" y="47142"/>
                      </a:lnTo>
                      <a:lnTo>
                        <a:pt x="23050" y="74285"/>
                      </a:lnTo>
                      <a:lnTo>
                        <a:pt x="30508" y="75000"/>
                      </a:lnTo>
                      <a:lnTo>
                        <a:pt x="40000" y="55714"/>
                      </a:lnTo>
                      <a:lnTo>
                        <a:pt x="42033" y="46428"/>
                      </a:lnTo>
                      <a:lnTo>
                        <a:pt x="65762" y="55714"/>
                      </a:lnTo>
                      <a:lnTo>
                        <a:pt x="77966" y="61428"/>
                      </a:lnTo>
                      <a:lnTo>
                        <a:pt x="84067" y="75000"/>
                      </a:lnTo>
                      <a:lnTo>
                        <a:pt x="87457" y="95714"/>
                      </a:lnTo>
                      <a:lnTo>
                        <a:pt x="98305" y="114285"/>
                      </a:lnTo>
                      <a:lnTo>
                        <a:pt x="103050" y="120000"/>
                      </a:lnTo>
                      <a:lnTo>
                        <a:pt x="111186" y="105000"/>
                      </a:lnTo>
                      <a:lnTo>
                        <a:pt x="119999" y="86428"/>
                      </a:lnTo>
                      <a:lnTo>
                        <a:pt x="119999" y="55714"/>
                      </a:lnTo>
                      <a:lnTo>
                        <a:pt x="113220" y="27857"/>
                      </a:lnTo>
                      <a:lnTo>
                        <a:pt x="96271" y="5714"/>
                      </a:lnTo>
                      <a:lnTo>
                        <a:pt x="86779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  <p:grpSp>
            <p:nvGrpSpPr>
              <p:cNvPr id="44" name="Shape 863"/>
              <p:cNvGrpSpPr/>
              <p:nvPr/>
            </p:nvGrpSpPr>
            <p:grpSpPr>
              <a:xfrm>
                <a:off x="4185219" y="3465180"/>
                <a:ext cx="252231" cy="252231"/>
                <a:chOff x="250825" y="3464287"/>
                <a:chExt cx="504462" cy="504462"/>
              </a:xfrm>
            </p:grpSpPr>
            <p:sp>
              <p:nvSpPr>
                <p:cNvPr id="45" name="Shape 864"/>
                <p:cNvSpPr/>
                <p:nvPr/>
              </p:nvSpPr>
              <p:spPr>
                <a:xfrm>
                  <a:off x="250825" y="3464287"/>
                  <a:ext cx="504462" cy="504462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46" name="Shape 865"/>
                <p:cNvSpPr/>
                <p:nvPr/>
              </p:nvSpPr>
              <p:spPr>
                <a:xfrm>
                  <a:off x="376312" y="3589776"/>
                  <a:ext cx="253486" cy="253486"/>
                </a:xfrm>
                <a:prstGeom prst="ellipse">
                  <a:avLst/>
                </a:prstGeom>
                <a:solidFill>
                  <a:srgbClr val="FFC000"/>
                </a:solidFill>
                <a:ln w="15875" cap="rnd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</p:grpSp>
        <p:sp>
          <p:nvSpPr>
            <p:cNvPr id="42" name="Shape 866"/>
            <p:cNvSpPr txBox="1"/>
            <p:nvPr/>
          </p:nvSpPr>
          <p:spPr>
            <a:xfrm>
              <a:off x="4671271" y="3308610"/>
              <a:ext cx="2010612" cy="42812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1200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Tambacounda</a:t>
              </a:r>
            </a:p>
          </p:txBody>
        </p:sp>
      </p:grpSp>
      <p:pic>
        <p:nvPicPr>
          <p:cNvPr id="61" name="Shape 806"/>
          <p:cNvPicPr preferRelativeResize="0"/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21881" y="-30392"/>
            <a:ext cx="1030643" cy="7607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19688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6" name="Shape 796"/>
          <p:cNvGrpSpPr/>
          <p:nvPr/>
        </p:nvGrpSpPr>
        <p:grpSpPr>
          <a:xfrm>
            <a:off x="4344216" y="164867"/>
            <a:ext cx="7728835" cy="6280713"/>
            <a:chOff x="6908546" y="822495"/>
            <a:chExt cx="4715911" cy="5406393"/>
          </a:xfrm>
        </p:grpSpPr>
        <p:grpSp>
          <p:nvGrpSpPr>
            <p:cNvPr id="797" name="Shape 797"/>
            <p:cNvGrpSpPr/>
            <p:nvPr/>
          </p:nvGrpSpPr>
          <p:grpSpPr>
            <a:xfrm>
              <a:off x="6908546" y="868052"/>
              <a:ext cx="441024" cy="465679"/>
              <a:chOff x="250825" y="3464287"/>
              <a:chExt cx="504462" cy="504462"/>
            </a:xfrm>
          </p:grpSpPr>
          <p:sp>
            <p:nvSpPr>
              <p:cNvPr id="798" name="Shape 798"/>
              <p:cNvSpPr/>
              <p:nvPr/>
            </p:nvSpPr>
            <p:spPr>
              <a:xfrm>
                <a:off x="250825" y="3464287"/>
                <a:ext cx="504462" cy="504462"/>
              </a:xfrm>
              <a:prstGeom prst="ellipse">
                <a:avLst/>
              </a:prstGeom>
              <a:solidFill>
                <a:srgbClr val="F0B270"/>
              </a:solidFill>
              <a:ln>
                <a:noFill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799" name="Shape 799"/>
              <p:cNvSpPr/>
              <p:nvPr/>
            </p:nvSpPr>
            <p:spPr>
              <a:xfrm>
                <a:off x="376312" y="3589776"/>
                <a:ext cx="253486" cy="253486"/>
              </a:xfrm>
              <a:prstGeom prst="ellipse">
                <a:avLst/>
              </a:prstGeom>
              <a:solidFill>
                <a:srgbClr val="F0B270"/>
              </a:solidFill>
              <a:ln w="15875" cap="rnd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</p:grpSp>
        <p:sp>
          <p:nvSpPr>
            <p:cNvPr id="800" name="Shape 800"/>
            <p:cNvSpPr/>
            <p:nvPr/>
          </p:nvSpPr>
          <p:spPr>
            <a:xfrm>
              <a:off x="6979207" y="1445532"/>
              <a:ext cx="4645250" cy="4783356"/>
            </a:xfrm>
            <a:prstGeom prst="roundRect">
              <a:avLst>
                <a:gd name="adj" fmla="val 1831"/>
              </a:avLst>
            </a:prstGeom>
            <a:solidFill>
              <a:schemeClr val="lt1"/>
            </a:solidFill>
            <a:ln w="9525" cap="flat" cmpd="sng">
              <a:solidFill>
                <a:srgbClr val="BFBFB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182875" rIns="91425" bIns="45700" anchor="t" anchorCtr="0">
              <a:noAutofit/>
            </a:bodyPr>
            <a:lstStyle/>
            <a:p>
              <a:pPr marL="342900" marR="0" lvl="1" indent="-342900" algn="l" rtl="0">
                <a:spcBef>
                  <a:spcPts val="600"/>
                </a:spcBef>
                <a:buClr>
                  <a:schemeClr val="accent1"/>
                </a:buClr>
                <a:buFont typeface="Noto Sans Symbols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801" name="Shape 801"/>
            <p:cNvSpPr/>
            <p:nvPr/>
          </p:nvSpPr>
          <p:spPr>
            <a:xfrm>
              <a:off x="7536064" y="822495"/>
              <a:ext cx="4060245" cy="556796"/>
            </a:xfrm>
            <a:prstGeom prst="roundRect">
              <a:avLst>
                <a:gd name="adj" fmla="val 13209"/>
              </a:avLst>
            </a:prstGeom>
            <a:solidFill>
              <a:srgbClr val="F0B270"/>
            </a:solidFill>
            <a:ln w="15875" cap="rnd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799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lIns="5486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2000" b="1" cap="small" dirty="0" smtClean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KÉDOUGOU</a:t>
              </a:r>
              <a:endParaRPr lang="fr-CA" sz="2000" b="1" cap="small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aphicFrame>
        <p:nvGraphicFramePr>
          <p:cNvPr id="34" name="Tableau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5637351"/>
              </p:ext>
            </p:extLst>
          </p:nvPr>
        </p:nvGraphicFramePr>
        <p:xfrm>
          <a:off x="435359" y="4603649"/>
          <a:ext cx="351010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10108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800" b="0" i="0" u="none" strike="noStrike" cap="none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Population : 172</a:t>
                      </a:r>
                      <a:r>
                        <a:rPr lang="fr-CA" sz="1800" b="0" i="0" u="none" strike="noStrike" cap="none" baseline="0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482 </a:t>
                      </a:r>
                      <a:r>
                        <a:rPr lang="fr-CA" sz="1800" b="0" i="0" u="none" strike="noStrike" cap="none" dirty="0" smtClean="0">
                          <a:solidFill>
                            <a:schemeClr val="dk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habitant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5" name="Tableau 34"/>
          <p:cNvGraphicFramePr>
            <a:graphicFrameLocks noGrp="1"/>
          </p:cNvGraphicFramePr>
          <p:nvPr>
            <p:extLst/>
          </p:nvPr>
        </p:nvGraphicFramePr>
        <p:xfrm>
          <a:off x="435360" y="6270710"/>
          <a:ext cx="5477466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7466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CA" sz="1600" dirty="0" smtClean="0">
                          <a:solidFill>
                            <a:schemeClr val="tx1"/>
                          </a:solidFill>
                        </a:rPr>
                        <a:t>Tourisme – Agriculture – Zone minière</a:t>
                      </a:r>
                      <a:endParaRPr lang="fr-C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6" name="Tableau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3654758"/>
              </p:ext>
            </p:extLst>
          </p:nvPr>
        </p:nvGraphicFramePr>
        <p:xfrm>
          <a:off x="4642786" y="959413"/>
          <a:ext cx="7410152" cy="8578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060"/>
                <a:gridCol w="4958092"/>
              </a:tblGrid>
              <a:tr h="316230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ATURE DE L’AÉRODROME</a:t>
                      </a:r>
                      <a:endParaRPr lang="fr-CA" sz="11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F0B27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ype d’aéroport</a:t>
                      </a:r>
                      <a:endParaRPr lang="fr-CA" sz="11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i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</a:t>
                      </a:r>
                      <a:r>
                        <a:rPr lang="fr-CA" sz="11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ternational</a:t>
                      </a:r>
                      <a:endParaRPr lang="fr-CA" sz="11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70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rafic passagers en </a:t>
                      </a:r>
                      <a:r>
                        <a:rPr lang="fr-CA" sz="1100" b="1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16</a:t>
                      </a:r>
                      <a:endParaRPr lang="fr-CA" sz="11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11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-</a:t>
                      </a:r>
                      <a:r>
                        <a:rPr lang="fr-CA" sz="1100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endParaRPr lang="fr-CA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7" name="Tableau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152217"/>
              </p:ext>
            </p:extLst>
          </p:nvPr>
        </p:nvGraphicFramePr>
        <p:xfrm>
          <a:off x="4642787" y="2154474"/>
          <a:ext cx="7410151" cy="4494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9631"/>
                <a:gridCol w="2629006"/>
                <a:gridCol w="2771514"/>
              </a:tblGrid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ÉTAT DES LIEUX</a:t>
                      </a:r>
                      <a:endParaRPr lang="fr-CA" sz="11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>
                    <a:solidFill>
                      <a:srgbClr val="F0B27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ONSISTANCE DES TRAVAUX</a:t>
                      </a:r>
                      <a:endParaRPr lang="fr-CA" sz="11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>
                    <a:solidFill>
                      <a:srgbClr val="F0B270"/>
                    </a:solidFill>
                  </a:tcPr>
                </a:tc>
              </a:tr>
              <a:tr h="283440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PISTE 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1800 x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30 en bitume 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2800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x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396376">
                <a:tc>
                  <a:txBody>
                    <a:bodyPr/>
                    <a:lstStyle/>
                    <a:p>
                      <a:pPr marL="85725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CLÔTURE DE L’EMPRISE</a:t>
                      </a:r>
                      <a:r>
                        <a:rPr lang="fr-CA" sz="1100" b="1" baseline="0" dirty="0" smtClean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ÉROPORTUAIRE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371475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Quasi-inexist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Reconstruction avec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3 sorties 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de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secour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ÉROGARE + SALON VIP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80m2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1800m2</a:t>
                      </a:r>
                      <a:r>
                        <a:rPr lang="fr-CA" sz="1100" baseline="0" dirty="0" smtClean="0">
                          <a:effectLst/>
                          <a:latin typeface="Century Gothic" panose="020B0502020202020204" pitchFamily="34" charset="0"/>
                        </a:rPr>
                        <a:t> + salon VIP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170504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SSLI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Né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iveau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IRE DE STATIONNEMENT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marL="457200" lvl="1" indent="-45720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Dégradé en parti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A réhabilit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ÉQUIPEMENTS DE N/A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é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VOR + Balisag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BÂTIMENTS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A réfectionner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>
                          <a:effectLst/>
                          <a:latin typeface="Century Gothic" panose="020B0502020202020204" pitchFamily="34" charset="0"/>
                        </a:rPr>
                        <a:t>Reconstruction et équipement des bâtiments</a:t>
                      </a:r>
                      <a:endParaRPr lang="fr-CA" sz="11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170504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STATION MÉTÉO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Obsolèt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Nouvelle station météo équipée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457200" lvl="1" indent="-371475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ASSISTANCE AU SOL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Rudimentaire</a:t>
                      </a: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>
                          <a:effectLst/>
                          <a:latin typeface="Century Gothic" panose="020B0502020202020204" pitchFamily="34" charset="0"/>
                        </a:rPr>
                        <a:t>Équipement des services d’assistance au 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sol + véhicules aéroportuaires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283440">
                <a:tc>
                  <a:txBody>
                    <a:bodyPr/>
                    <a:lstStyle/>
                    <a:p>
                      <a:pPr marL="371475" lvl="1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Noto Sans Symbols"/>
                        <a:buNone/>
                        <a:tabLst>
                          <a:tab pos="914400" algn="l"/>
                        </a:tabLst>
                      </a:pPr>
                      <a:r>
                        <a:rPr lang="fr-CA" sz="1100" b="1" dirty="0" smtClean="0">
                          <a:effectLst/>
                          <a:latin typeface="Century Gothic" panose="020B0502020202020204" pitchFamily="34" charset="0"/>
                        </a:rPr>
                        <a:t>CENTRALE ÉNERGÉTIQUE </a:t>
                      </a:r>
                      <a:endParaRPr lang="fr-CA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éant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140 </a:t>
                      </a:r>
                      <a:r>
                        <a:rPr lang="fr-CA" sz="110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r>
                        <a:rPr lang="fr-CA" sz="1100" dirty="0" smtClean="0">
                          <a:effectLst/>
                          <a:latin typeface="Century Gothic" panose="020B0502020202020204" pitchFamily="34" charset="0"/>
                        </a:rPr>
                        <a:t> + 180 </a:t>
                      </a:r>
                      <a:r>
                        <a:rPr lang="fr-CA" sz="1100" baseline="0" dirty="0" err="1" smtClean="0">
                          <a:effectLst/>
                          <a:latin typeface="Century Gothic" panose="020B0502020202020204" pitchFamily="34" charset="0"/>
                        </a:rPr>
                        <a:t>Kva</a:t>
                      </a:r>
                      <a:endParaRPr lang="fr-CA" sz="11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567" marR="57567" marT="28784" marB="28784" anchor="ctr"/>
                </a:tc>
              </a:tr>
              <a:tr h="512310"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ÉPÔT ET FOURNITURE CARBURANT</a:t>
                      </a:r>
                      <a:endParaRPr lang="fr-CA" sz="1100" b="1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éant</a:t>
                      </a: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on prévu</a:t>
                      </a: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02677"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OBJECTIF </a:t>
                      </a: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Mise</a:t>
                      </a:r>
                      <a:r>
                        <a:rPr lang="fr-CA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aux normes </a:t>
                      </a:r>
                      <a:endParaRPr lang="fr-CA" sz="1100" kern="1200" dirty="0" smtClean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02677"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100" b="1" kern="1200" dirty="0" smtClean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OÛT ESTIMÉ</a:t>
                      </a:r>
                      <a:endParaRPr lang="fr-CA" sz="1100" b="1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CA" sz="1400" b="1" kern="1200" baseline="0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5 000 000 000 F CFA)</a:t>
                      </a:r>
                      <a:endParaRPr lang="fr-CA" sz="1400" b="1" kern="1200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CA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567" marR="57567" marT="28784" marB="2878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grpSp>
        <p:nvGrpSpPr>
          <p:cNvPr id="40" name="Shape 888"/>
          <p:cNvGrpSpPr/>
          <p:nvPr/>
        </p:nvGrpSpPr>
        <p:grpSpPr>
          <a:xfrm>
            <a:off x="243610" y="1049782"/>
            <a:ext cx="4242038" cy="3160268"/>
            <a:chOff x="828782" y="1032186"/>
            <a:chExt cx="7172526" cy="5127995"/>
          </a:xfrm>
        </p:grpSpPr>
        <p:grpSp>
          <p:nvGrpSpPr>
            <p:cNvPr id="41" name="Shape 889"/>
            <p:cNvGrpSpPr/>
            <p:nvPr/>
          </p:nvGrpSpPr>
          <p:grpSpPr>
            <a:xfrm>
              <a:off x="828782" y="1032186"/>
              <a:ext cx="6465603" cy="5127995"/>
              <a:chOff x="849596" y="1025155"/>
              <a:chExt cx="5866523" cy="4406062"/>
            </a:xfrm>
          </p:grpSpPr>
          <p:grpSp>
            <p:nvGrpSpPr>
              <p:cNvPr id="43" name="Shape 890"/>
              <p:cNvGrpSpPr/>
              <p:nvPr/>
            </p:nvGrpSpPr>
            <p:grpSpPr>
              <a:xfrm>
                <a:off x="849596" y="1025155"/>
                <a:ext cx="5866523" cy="4406062"/>
                <a:chOff x="1537340" y="1223262"/>
                <a:chExt cx="5973634" cy="4486512"/>
              </a:xfrm>
            </p:grpSpPr>
            <p:sp>
              <p:nvSpPr>
                <p:cNvPr id="47" name="Shape 891"/>
                <p:cNvSpPr/>
                <p:nvPr/>
              </p:nvSpPr>
              <p:spPr>
                <a:xfrm>
                  <a:off x="2614939" y="1223262"/>
                  <a:ext cx="2692139" cy="95218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714" y="102000"/>
                      </a:moveTo>
                      <a:lnTo>
                        <a:pt x="9795" y="103333"/>
                      </a:lnTo>
                      <a:lnTo>
                        <a:pt x="13959" y="102666"/>
                      </a:lnTo>
                      <a:lnTo>
                        <a:pt x="17632" y="89333"/>
                      </a:lnTo>
                      <a:lnTo>
                        <a:pt x="21551" y="81333"/>
                      </a:lnTo>
                      <a:lnTo>
                        <a:pt x="24979" y="68000"/>
                      </a:lnTo>
                      <a:lnTo>
                        <a:pt x="30122" y="62000"/>
                      </a:lnTo>
                      <a:lnTo>
                        <a:pt x="34775" y="61333"/>
                      </a:lnTo>
                      <a:lnTo>
                        <a:pt x="36734" y="58000"/>
                      </a:lnTo>
                      <a:lnTo>
                        <a:pt x="42122" y="78000"/>
                      </a:lnTo>
                      <a:lnTo>
                        <a:pt x="43591" y="80666"/>
                      </a:lnTo>
                      <a:lnTo>
                        <a:pt x="55836" y="76000"/>
                      </a:lnTo>
                      <a:lnTo>
                        <a:pt x="68326" y="76666"/>
                      </a:lnTo>
                      <a:lnTo>
                        <a:pt x="75183" y="80000"/>
                      </a:lnTo>
                      <a:lnTo>
                        <a:pt x="78612" y="87333"/>
                      </a:lnTo>
                      <a:lnTo>
                        <a:pt x="86448" y="84000"/>
                      </a:lnTo>
                      <a:lnTo>
                        <a:pt x="88897" y="92666"/>
                      </a:lnTo>
                      <a:lnTo>
                        <a:pt x="90612" y="120000"/>
                      </a:lnTo>
                      <a:lnTo>
                        <a:pt x="108979" y="81333"/>
                      </a:lnTo>
                      <a:lnTo>
                        <a:pt x="120000" y="61333"/>
                      </a:lnTo>
                      <a:lnTo>
                        <a:pt x="117795" y="50000"/>
                      </a:lnTo>
                      <a:lnTo>
                        <a:pt x="115102" y="52000"/>
                      </a:lnTo>
                      <a:lnTo>
                        <a:pt x="112163" y="48666"/>
                      </a:lnTo>
                      <a:lnTo>
                        <a:pt x="112408" y="41333"/>
                      </a:lnTo>
                      <a:lnTo>
                        <a:pt x="109959" y="34666"/>
                      </a:lnTo>
                      <a:lnTo>
                        <a:pt x="105061" y="24666"/>
                      </a:lnTo>
                      <a:lnTo>
                        <a:pt x="103591" y="22000"/>
                      </a:lnTo>
                      <a:lnTo>
                        <a:pt x="102122" y="16000"/>
                      </a:lnTo>
                      <a:lnTo>
                        <a:pt x="100653" y="20000"/>
                      </a:lnTo>
                      <a:lnTo>
                        <a:pt x="98938" y="13333"/>
                      </a:lnTo>
                      <a:lnTo>
                        <a:pt x="96489" y="12666"/>
                      </a:lnTo>
                      <a:lnTo>
                        <a:pt x="91836" y="8666"/>
                      </a:lnTo>
                      <a:lnTo>
                        <a:pt x="89142" y="10666"/>
                      </a:lnTo>
                      <a:lnTo>
                        <a:pt x="82285" y="8000"/>
                      </a:lnTo>
                      <a:lnTo>
                        <a:pt x="74448" y="4000"/>
                      </a:lnTo>
                      <a:lnTo>
                        <a:pt x="71510" y="1333"/>
                      </a:lnTo>
                      <a:lnTo>
                        <a:pt x="69306" y="0"/>
                      </a:lnTo>
                      <a:lnTo>
                        <a:pt x="68081" y="5333"/>
                      </a:lnTo>
                      <a:lnTo>
                        <a:pt x="63918" y="6000"/>
                      </a:lnTo>
                      <a:lnTo>
                        <a:pt x="63918" y="11333"/>
                      </a:lnTo>
                      <a:lnTo>
                        <a:pt x="61959" y="10000"/>
                      </a:lnTo>
                      <a:lnTo>
                        <a:pt x="58040" y="10000"/>
                      </a:lnTo>
                      <a:lnTo>
                        <a:pt x="55836" y="11333"/>
                      </a:lnTo>
                      <a:lnTo>
                        <a:pt x="51428" y="18000"/>
                      </a:lnTo>
                      <a:lnTo>
                        <a:pt x="48489" y="13333"/>
                      </a:lnTo>
                      <a:lnTo>
                        <a:pt x="46285" y="13333"/>
                      </a:lnTo>
                      <a:lnTo>
                        <a:pt x="42367" y="18000"/>
                      </a:lnTo>
                      <a:lnTo>
                        <a:pt x="39673" y="23333"/>
                      </a:lnTo>
                      <a:lnTo>
                        <a:pt x="35510" y="20000"/>
                      </a:lnTo>
                      <a:lnTo>
                        <a:pt x="32816" y="18000"/>
                      </a:lnTo>
                      <a:lnTo>
                        <a:pt x="30857" y="18000"/>
                      </a:lnTo>
                      <a:lnTo>
                        <a:pt x="28163" y="17333"/>
                      </a:lnTo>
                      <a:lnTo>
                        <a:pt x="25714" y="19333"/>
                      </a:lnTo>
                      <a:lnTo>
                        <a:pt x="24734" y="16000"/>
                      </a:lnTo>
                      <a:lnTo>
                        <a:pt x="24000" y="10000"/>
                      </a:lnTo>
                      <a:lnTo>
                        <a:pt x="20326" y="12000"/>
                      </a:lnTo>
                      <a:lnTo>
                        <a:pt x="18367" y="13333"/>
                      </a:lnTo>
                      <a:lnTo>
                        <a:pt x="15673" y="16000"/>
                      </a:lnTo>
                      <a:lnTo>
                        <a:pt x="15673" y="22000"/>
                      </a:lnTo>
                      <a:lnTo>
                        <a:pt x="12244" y="32666"/>
                      </a:lnTo>
                      <a:lnTo>
                        <a:pt x="10285" y="38666"/>
                      </a:lnTo>
                      <a:lnTo>
                        <a:pt x="7346" y="43333"/>
                      </a:lnTo>
                      <a:lnTo>
                        <a:pt x="7102" y="50000"/>
                      </a:lnTo>
                      <a:lnTo>
                        <a:pt x="7102" y="57333"/>
                      </a:lnTo>
                      <a:lnTo>
                        <a:pt x="6122" y="61333"/>
                      </a:lnTo>
                      <a:lnTo>
                        <a:pt x="3428" y="65333"/>
                      </a:lnTo>
                      <a:lnTo>
                        <a:pt x="1469" y="68666"/>
                      </a:lnTo>
                      <a:lnTo>
                        <a:pt x="0" y="74000"/>
                      </a:lnTo>
                      <a:lnTo>
                        <a:pt x="244" y="88666"/>
                      </a:lnTo>
                      <a:lnTo>
                        <a:pt x="1959" y="80000"/>
                      </a:lnTo>
                      <a:lnTo>
                        <a:pt x="3183" y="74666"/>
                      </a:lnTo>
                      <a:lnTo>
                        <a:pt x="3183" y="84666"/>
                      </a:lnTo>
                      <a:lnTo>
                        <a:pt x="1714" y="88000"/>
                      </a:lnTo>
                      <a:lnTo>
                        <a:pt x="2448" y="94000"/>
                      </a:lnTo>
                      <a:lnTo>
                        <a:pt x="1714" y="10200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48" name="Shape 892"/>
                <p:cNvSpPr/>
                <p:nvPr/>
              </p:nvSpPr>
              <p:spPr>
                <a:xfrm>
                  <a:off x="2372450" y="1668290"/>
                  <a:ext cx="2477862" cy="16081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5055" y="48947"/>
                      </a:moveTo>
                      <a:lnTo>
                        <a:pt x="8248" y="41052"/>
                      </a:lnTo>
                      <a:lnTo>
                        <a:pt x="9312" y="36315"/>
                      </a:lnTo>
                      <a:lnTo>
                        <a:pt x="13569" y="25657"/>
                      </a:lnTo>
                      <a:lnTo>
                        <a:pt x="27937" y="26447"/>
                      </a:lnTo>
                      <a:lnTo>
                        <a:pt x="30066" y="20526"/>
                      </a:lnTo>
                      <a:lnTo>
                        <a:pt x="35121" y="14605"/>
                      </a:lnTo>
                      <a:lnTo>
                        <a:pt x="39113" y="7500"/>
                      </a:lnTo>
                      <a:lnTo>
                        <a:pt x="42572" y="2763"/>
                      </a:lnTo>
                      <a:lnTo>
                        <a:pt x="48159" y="2368"/>
                      </a:lnTo>
                      <a:lnTo>
                        <a:pt x="51618" y="0"/>
                      </a:lnTo>
                      <a:lnTo>
                        <a:pt x="57738" y="11447"/>
                      </a:lnTo>
                      <a:lnTo>
                        <a:pt x="61197" y="12631"/>
                      </a:lnTo>
                      <a:lnTo>
                        <a:pt x="77427" y="9868"/>
                      </a:lnTo>
                      <a:lnTo>
                        <a:pt x="93126" y="11842"/>
                      </a:lnTo>
                      <a:lnTo>
                        <a:pt x="97383" y="17368"/>
                      </a:lnTo>
                      <a:lnTo>
                        <a:pt x="105365" y="15000"/>
                      </a:lnTo>
                      <a:lnTo>
                        <a:pt x="108292" y="18947"/>
                      </a:lnTo>
                      <a:lnTo>
                        <a:pt x="110155" y="35131"/>
                      </a:lnTo>
                      <a:lnTo>
                        <a:pt x="111219" y="48157"/>
                      </a:lnTo>
                      <a:lnTo>
                        <a:pt x="108558" y="53684"/>
                      </a:lnTo>
                      <a:lnTo>
                        <a:pt x="105898" y="56052"/>
                      </a:lnTo>
                      <a:lnTo>
                        <a:pt x="103769" y="65921"/>
                      </a:lnTo>
                      <a:lnTo>
                        <a:pt x="102172" y="78947"/>
                      </a:lnTo>
                      <a:lnTo>
                        <a:pt x="104301" y="83684"/>
                      </a:lnTo>
                      <a:lnTo>
                        <a:pt x="108026" y="84078"/>
                      </a:lnTo>
                      <a:lnTo>
                        <a:pt x="112815" y="88026"/>
                      </a:lnTo>
                      <a:lnTo>
                        <a:pt x="118137" y="93947"/>
                      </a:lnTo>
                      <a:lnTo>
                        <a:pt x="120000" y="99078"/>
                      </a:lnTo>
                      <a:lnTo>
                        <a:pt x="114944" y="105394"/>
                      </a:lnTo>
                      <a:lnTo>
                        <a:pt x="110953" y="112500"/>
                      </a:lnTo>
                      <a:lnTo>
                        <a:pt x="107228" y="118421"/>
                      </a:lnTo>
                      <a:lnTo>
                        <a:pt x="103769" y="120000"/>
                      </a:lnTo>
                      <a:lnTo>
                        <a:pt x="101906" y="117236"/>
                      </a:lnTo>
                      <a:lnTo>
                        <a:pt x="98181" y="115657"/>
                      </a:lnTo>
                      <a:lnTo>
                        <a:pt x="92328" y="114473"/>
                      </a:lnTo>
                      <a:lnTo>
                        <a:pt x="88070" y="114473"/>
                      </a:lnTo>
                      <a:lnTo>
                        <a:pt x="84345" y="109736"/>
                      </a:lnTo>
                      <a:lnTo>
                        <a:pt x="82483" y="106973"/>
                      </a:lnTo>
                      <a:lnTo>
                        <a:pt x="80620" y="108157"/>
                      </a:lnTo>
                      <a:lnTo>
                        <a:pt x="77427" y="112500"/>
                      </a:lnTo>
                      <a:lnTo>
                        <a:pt x="72904" y="117236"/>
                      </a:lnTo>
                      <a:lnTo>
                        <a:pt x="66518" y="112500"/>
                      </a:lnTo>
                      <a:lnTo>
                        <a:pt x="62261" y="106578"/>
                      </a:lnTo>
                      <a:lnTo>
                        <a:pt x="61729" y="101842"/>
                      </a:lnTo>
                      <a:lnTo>
                        <a:pt x="61463" y="98289"/>
                      </a:lnTo>
                      <a:lnTo>
                        <a:pt x="59068" y="98684"/>
                      </a:lnTo>
                      <a:lnTo>
                        <a:pt x="57472" y="99473"/>
                      </a:lnTo>
                      <a:lnTo>
                        <a:pt x="55343" y="96315"/>
                      </a:lnTo>
                      <a:lnTo>
                        <a:pt x="52150" y="96315"/>
                      </a:lnTo>
                      <a:lnTo>
                        <a:pt x="50022" y="98289"/>
                      </a:lnTo>
                      <a:lnTo>
                        <a:pt x="44700" y="96710"/>
                      </a:lnTo>
                      <a:lnTo>
                        <a:pt x="36984" y="95131"/>
                      </a:lnTo>
                      <a:lnTo>
                        <a:pt x="31396" y="94342"/>
                      </a:lnTo>
                      <a:lnTo>
                        <a:pt x="31130" y="88026"/>
                      </a:lnTo>
                      <a:lnTo>
                        <a:pt x="31396" y="77368"/>
                      </a:lnTo>
                      <a:lnTo>
                        <a:pt x="29534" y="75789"/>
                      </a:lnTo>
                      <a:lnTo>
                        <a:pt x="26341" y="72631"/>
                      </a:lnTo>
                      <a:lnTo>
                        <a:pt x="23680" y="69868"/>
                      </a:lnTo>
                      <a:lnTo>
                        <a:pt x="22084" y="64736"/>
                      </a:lnTo>
                      <a:lnTo>
                        <a:pt x="21019" y="60789"/>
                      </a:lnTo>
                      <a:lnTo>
                        <a:pt x="18093" y="65131"/>
                      </a:lnTo>
                      <a:lnTo>
                        <a:pt x="14634" y="68684"/>
                      </a:lnTo>
                      <a:lnTo>
                        <a:pt x="10643" y="75000"/>
                      </a:lnTo>
                      <a:lnTo>
                        <a:pt x="8514" y="76578"/>
                      </a:lnTo>
                      <a:lnTo>
                        <a:pt x="1862" y="70657"/>
                      </a:lnTo>
                      <a:lnTo>
                        <a:pt x="0" y="68289"/>
                      </a:lnTo>
                      <a:lnTo>
                        <a:pt x="5853" y="54473"/>
                      </a:lnTo>
                      <a:lnTo>
                        <a:pt x="5055" y="48947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49" name="Shape 893"/>
                <p:cNvSpPr/>
                <p:nvPr/>
              </p:nvSpPr>
              <p:spPr>
                <a:xfrm>
                  <a:off x="4467214" y="1662998"/>
                  <a:ext cx="1889989" cy="19361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0465" y="30163"/>
                      </a:moveTo>
                      <a:lnTo>
                        <a:pt x="53023" y="1967"/>
                      </a:lnTo>
                      <a:lnTo>
                        <a:pt x="55813" y="1967"/>
                      </a:lnTo>
                      <a:lnTo>
                        <a:pt x="58953" y="0"/>
                      </a:lnTo>
                      <a:lnTo>
                        <a:pt x="63837" y="1639"/>
                      </a:lnTo>
                      <a:lnTo>
                        <a:pt x="68023" y="655"/>
                      </a:lnTo>
                      <a:lnTo>
                        <a:pt x="73255" y="3278"/>
                      </a:lnTo>
                      <a:lnTo>
                        <a:pt x="73604" y="6229"/>
                      </a:lnTo>
                      <a:lnTo>
                        <a:pt x="78837" y="7868"/>
                      </a:lnTo>
                      <a:lnTo>
                        <a:pt x="82674" y="12786"/>
                      </a:lnTo>
                      <a:lnTo>
                        <a:pt x="83023" y="18360"/>
                      </a:lnTo>
                      <a:lnTo>
                        <a:pt x="84767" y="22950"/>
                      </a:lnTo>
                      <a:lnTo>
                        <a:pt x="85465" y="27540"/>
                      </a:lnTo>
                      <a:lnTo>
                        <a:pt x="86860" y="31147"/>
                      </a:lnTo>
                      <a:lnTo>
                        <a:pt x="87906" y="36721"/>
                      </a:lnTo>
                      <a:lnTo>
                        <a:pt x="90697" y="39016"/>
                      </a:lnTo>
                      <a:lnTo>
                        <a:pt x="93488" y="40327"/>
                      </a:lnTo>
                      <a:lnTo>
                        <a:pt x="94186" y="43934"/>
                      </a:lnTo>
                      <a:lnTo>
                        <a:pt x="94186" y="46885"/>
                      </a:lnTo>
                      <a:lnTo>
                        <a:pt x="104302" y="45901"/>
                      </a:lnTo>
                      <a:lnTo>
                        <a:pt x="105697" y="52786"/>
                      </a:lnTo>
                      <a:lnTo>
                        <a:pt x="103953" y="56065"/>
                      </a:lnTo>
                      <a:lnTo>
                        <a:pt x="105000" y="59672"/>
                      </a:lnTo>
                      <a:lnTo>
                        <a:pt x="108488" y="62622"/>
                      </a:lnTo>
                      <a:lnTo>
                        <a:pt x="109883" y="65901"/>
                      </a:lnTo>
                      <a:lnTo>
                        <a:pt x="112674" y="69180"/>
                      </a:lnTo>
                      <a:lnTo>
                        <a:pt x="118604" y="72786"/>
                      </a:lnTo>
                      <a:lnTo>
                        <a:pt x="117209" y="75737"/>
                      </a:lnTo>
                      <a:lnTo>
                        <a:pt x="117558" y="83606"/>
                      </a:lnTo>
                      <a:lnTo>
                        <a:pt x="120000" y="88196"/>
                      </a:lnTo>
                      <a:lnTo>
                        <a:pt x="119651" y="91803"/>
                      </a:lnTo>
                      <a:lnTo>
                        <a:pt x="114069" y="99672"/>
                      </a:lnTo>
                      <a:lnTo>
                        <a:pt x="106395" y="105573"/>
                      </a:lnTo>
                      <a:lnTo>
                        <a:pt x="102906" y="105245"/>
                      </a:lnTo>
                      <a:lnTo>
                        <a:pt x="88604" y="103278"/>
                      </a:lnTo>
                      <a:lnTo>
                        <a:pt x="85465" y="104590"/>
                      </a:lnTo>
                      <a:lnTo>
                        <a:pt x="78488" y="115081"/>
                      </a:lnTo>
                      <a:lnTo>
                        <a:pt x="75697" y="116721"/>
                      </a:lnTo>
                      <a:lnTo>
                        <a:pt x="69418" y="120000"/>
                      </a:lnTo>
                      <a:lnTo>
                        <a:pt x="56162" y="117049"/>
                      </a:lnTo>
                      <a:lnTo>
                        <a:pt x="44302" y="111475"/>
                      </a:lnTo>
                      <a:lnTo>
                        <a:pt x="35930" y="105901"/>
                      </a:lnTo>
                      <a:lnTo>
                        <a:pt x="23372" y="97704"/>
                      </a:lnTo>
                      <a:lnTo>
                        <a:pt x="16744" y="92459"/>
                      </a:lnTo>
                      <a:lnTo>
                        <a:pt x="13953" y="91147"/>
                      </a:lnTo>
                      <a:lnTo>
                        <a:pt x="24069" y="82950"/>
                      </a:lnTo>
                      <a:lnTo>
                        <a:pt x="20581" y="78688"/>
                      </a:lnTo>
                      <a:lnTo>
                        <a:pt x="15000" y="73770"/>
                      </a:lnTo>
                      <a:lnTo>
                        <a:pt x="6976" y="70163"/>
                      </a:lnTo>
                      <a:lnTo>
                        <a:pt x="1395" y="68852"/>
                      </a:lnTo>
                      <a:lnTo>
                        <a:pt x="348" y="64918"/>
                      </a:lnTo>
                      <a:lnTo>
                        <a:pt x="0" y="60327"/>
                      </a:lnTo>
                      <a:lnTo>
                        <a:pt x="4186" y="46885"/>
                      </a:lnTo>
                      <a:lnTo>
                        <a:pt x="8720" y="44262"/>
                      </a:lnTo>
                      <a:lnTo>
                        <a:pt x="11162" y="40327"/>
                      </a:lnTo>
                      <a:lnTo>
                        <a:pt x="11511" y="35409"/>
                      </a:lnTo>
                      <a:lnTo>
                        <a:pt x="10465" y="30163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0" name="Shape 894"/>
                <p:cNvSpPr/>
                <p:nvPr/>
              </p:nvSpPr>
              <p:spPr>
                <a:xfrm>
                  <a:off x="4004362" y="2832490"/>
                  <a:ext cx="3133010" cy="260220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8842" y="244"/>
                      </a:moveTo>
                      <a:lnTo>
                        <a:pt x="91157" y="0"/>
                      </a:lnTo>
                      <a:lnTo>
                        <a:pt x="96210" y="4163"/>
                      </a:lnTo>
                      <a:lnTo>
                        <a:pt x="98736" y="6857"/>
                      </a:lnTo>
                      <a:lnTo>
                        <a:pt x="100210" y="10285"/>
                      </a:lnTo>
                      <a:lnTo>
                        <a:pt x="103157" y="12734"/>
                      </a:lnTo>
                      <a:lnTo>
                        <a:pt x="105894" y="14938"/>
                      </a:lnTo>
                      <a:lnTo>
                        <a:pt x="108631" y="18612"/>
                      </a:lnTo>
                      <a:lnTo>
                        <a:pt x="109473" y="22775"/>
                      </a:lnTo>
                      <a:lnTo>
                        <a:pt x="107578" y="25959"/>
                      </a:lnTo>
                      <a:lnTo>
                        <a:pt x="106736" y="28897"/>
                      </a:lnTo>
                      <a:lnTo>
                        <a:pt x="108631" y="32081"/>
                      </a:lnTo>
                      <a:lnTo>
                        <a:pt x="110315" y="35265"/>
                      </a:lnTo>
                      <a:lnTo>
                        <a:pt x="112210" y="36000"/>
                      </a:lnTo>
                      <a:lnTo>
                        <a:pt x="113052" y="42857"/>
                      </a:lnTo>
                      <a:lnTo>
                        <a:pt x="113052" y="45061"/>
                      </a:lnTo>
                      <a:lnTo>
                        <a:pt x="110526" y="51673"/>
                      </a:lnTo>
                      <a:lnTo>
                        <a:pt x="110315" y="54612"/>
                      </a:lnTo>
                      <a:lnTo>
                        <a:pt x="111578" y="57795"/>
                      </a:lnTo>
                      <a:lnTo>
                        <a:pt x="113263" y="60000"/>
                      </a:lnTo>
                      <a:lnTo>
                        <a:pt x="113052" y="64408"/>
                      </a:lnTo>
                      <a:lnTo>
                        <a:pt x="109684" y="69306"/>
                      </a:lnTo>
                      <a:lnTo>
                        <a:pt x="108631" y="71510"/>
                      </a:lnTo>
                      <a:lnTo>
                        <a:pt x="110736" y="72734"/>
                      </a:lnTo>
                      <a:lnTo>
                        <a:pt x="113684" y="75673"/>
                      </a:lnTo>
                      <a:lnTo>
                        <a:pt x="113894" y="77877"/>
                      </a:lnTo>
                      <a:lnTo>
                        <a:pt x="119999" y="82775"/>
                      </a:lnTo>
                      <a:cubicBezTo>
                        <a:pt x="119315" y="83448"/>
                        <a:pt x="118631" y="84122"/>
                        <a:pt x="117894" y="84734"/>
                      </a:cubicBezTo>
                      <a:cubicBezTo>
                        <a:pt x="117526" y="85040"/>
                        <a:pt x="116631" y="85469"/>
                        <a:pt x="116631" y="85469"/>
                      </a:cubicBezTo>
                      <a:lnTo>
                        <a:pt x="114105" y="86204"/>
                      </a:lnTo>
                      <a:cubicBezTo>
                        <a:pt x="113421" y="86632"/>
                        <a:pt x="112631" y="86938"/>
                        <a:pt x="112000" y="87428"/>
                      </a:cubicBezTo>
                      <a:cubicBezTo>
                        <a:pt x="111789" y="87612"/>
                        <a:pt x="111578" y="88163"/>
                        <a:pt x="111578" y="88163"/>
                      </a:cubicBezTo>
                      <a:lnTo>
                        <a:pt x="108421" y="85714"/>
                      </a:lnTo>
                      <a:lnTo>
                        <a:pt x="103157" y="82285"/>
                      </a:lnTo>
                      <a:lnTo>
                        <a:pt x="101263" y="81795"/>
                      </a:lnTo>
                      <a:lnTo>
                        <a:pt x="101052" y="84489"/>
                      </a:lnTo>
                      <a:lnTo>
                        <a:pt x="101684" y="86938"/>
                      </a:lnTo>
                      <a:lnTo>
                        <a:pt x="98947" y="88653"/>
                      </a:lnTo>
                      <a:lnTo>
                        <a:pt x="97894" y="91836"/>
                      </a:lnTo>
                      <a:lnTo>
                        <a:pt x="96210" y="89387"/>
                      </a:lnTo>
                      <a:lnTo>
                        <a:pt x="93263" y="89632"/>
                      </a:lnTo>
                      <a:lnTo>
                        <a:pt x="91578" y="93306"/>
                      </a:lnTo>
                      <a:lnTo>
                        <a:pt x="89473" y="94530"/>
                      </a:lnTo>
                      <a:lnTo>
                        <a:pt x="86736" y="94040"/>
                      </a:lnTo>
                      <a:lnTo>
                        <a:pt x="83368" y="95265"/>
                      </a:lnTo>
                      <a:lnTo>
                        <a:pt x="82526" y="97959"/>
                      </a:lnTo>
                      <a:lnTo>
                        <a:pt x="81473" y="99183"/>
                      </a:lnTo>
                      <a:cubicBezTo>
                        <a:pt x="80000" y="100040"/>
                        <a:pt x="77842" y="100775"/>
                        <a:pt x="77052" y="102612"/>
                      </a:cubicBezTo>
                      <a:lnTo>
                        <a:pt x="73894" y="101387"/>
                      </a:lnTo>
                      <a:lnTo>
                        <a:pt x="72631" y="100163"/>
                      </a:lnTo>
                      <a:lnTo>
                        <a:pt x="70315" y="99428"/>
                      </a:lnTo>
                      <a:lnTo>
                        <a:pt x="68631" y="100163"/>
                      </a:lnTo>
                      <a:lnTo>
                        <a:pt x="66315" y="100653"/>
                      </a:lnTo>
                      <a:lnTo>
                        <a:pt x="64631" y="100653"/>
                      </a:lnTo>
                      <a:lnTo>
                        <a:pt x="62315" y="100163"/>
                      </a:lnTo>
                      <a:lnTo>
                        <a:pt x="60210" y="100897"/>
                      </a:lnTo>
                      <a:lnTo>
                        <a:pt x="61473" y="103591"/>
                      </a:lnTo>
                      <a:lnTo>
                        <a:pt x="62947" y="105306"/>
                      </a:lnTo>
                      <a:lnTo>
                        <a:pt x="62736" y="107020"/>
                      </a:lnTo>
                      <a:lnTo>
                        <a:pt x="62315" y="110204"/>
                      </a:lnTo>
                      <a:lnTo>
                        <a:pt x="64631" y="111183"/>
                      </a:lnTo>
                      <a:lnTo>
                        <a:pt x="64842" y="112653"/>
                      </a:lnTo>
                      <a:lnTo>
                        <a:pt x="65052" y="116816"/>
                      </a:lnTo>
                      <a:lnTo>
                        <a:pt x="62315" y="120000"/>
                      </a:lnTo>
                      <a:lnTo>
                        <a:pt x="54736" y="119265"/>
                      </a:lnTo>
                      <a:lnTo>
                        <a:pt x="50105" y="103346"/>
                      </a:lnTo>
                      <a:lnTo>
                        <a:pt x="45263" y="85469"/>
                      </a:lnTo>
                      <a:lnTo>
                        <a:pt x="44842" y="83755"/>
                      </a:lnTo>
                      <a:lnTo>
                        <a:pt x="43578" y="81551"/>
                      </a:lnTo>
                      <a:lnTo>
                        <a:pt x="42736" y="80081"/>
                      </a:lnTo>
                      <a:cubicBezTo>
                        <a:pt x="42736" y="79163"/>
                        <a:pt x="42736" y="78306"/>
                        <a:pt x="42736" y="77387"/>
                      </a:cubicBezTo>
                      <a:cubicBezTo>
                        <a:pt x="40421" y="76040"/>
                        <a:pt x="41421" y="76163"/>
                        <a:pt x="40000" y="76163"/>
                      </a:cubicBezTo>
                      <a:lnTo>
                        <a:pt x="39368" y="73959"/>
                      </a:lnTo>
                      <a:cubicBezTo>
                        <a:pt x="37315" y="75551"/>
                        <a:pt x="37473" y="74571"/>
                        <a:pt x="37473" y="76163"/>
                      </a:cubicBezTo>
                      <a:lnTo>
                        <a:pt x="34315" y="74938"/>
                      </a:lnTo>
                      <a:lnTo>
                        <a:pt x="32631" y="73469"/>
                      </a:lnTo>
                      <a:lnTo>
                        <a:pt x="30315" y="74204"/>
                      </a:lnTo>
                      <a:lnTo>
                        <a:pt x="25684" y="75428"/>
                      </a:lnTo>
                      <a:lnTo>
                        <a:pt x="20631" y="76408"/>
                      </a:lnTo>
                      <a:lnTo>
                        <a:pt x="16842" y="75918"/>
                      </a:lnTo>
                      <a:lnTo>
                        <a:pt x="14105" y="73714"/>
                      </a:lnTo>
                      <a:lnTo>
                        <a:pt x="12210" y="71755"/>
                      </a:lnTo>
                      <a:lnTo>
                        <a:pt x="10526" y="70775"/>
                      </a:lnTo>
                      <a:lnTo>
                        <a:pt x="6526" y="70775"/>
                      </a:lnTo>
                      <a:lnTo>
                        <a:pt x="3578" y="70285"/>
                      </a:lnTo>
                      <a:lnTo>
                        <a:pt x="842" y="67591"/>
                      </a:lnTo>
                      <a:lnTo>
                        <a:pt x="0" y="64897"/>
                      </a:lnTo>
                      <a:lnTo>
                        <a:pt x="1684" y="61959"/>
                      </a:lnTo>
                      <a:lnTo>
                        <a:pt x="5894" y="59510"/>
                      </a:lnTo>
                      <a:lnTo>
                        <a:pt x="9894" y="56571"/>
                      </a:lnTo>
                      <a:lnTo>
                        <a:pt x="13473" y="51183"/>
                      </a:lnTo>
                      <a:lnTo>
                        <a:pt x="15578" y="45061"/>
                      </a:lnTo>
                      <a:lnTo>
                        <a:pt x="15157" y="39673"/>
                      </a:lnTo>
                      <a:lnTo>
                        <a:pt x="16421" y="35510"/>
                      </a:lnTo>
                      <a:lnTo>
                        <a:pt x="17052" y="33795"/>
                      </a:lnTo>
                      <a:lnTo>
                        <a:pt x="15368" y="32816"/>
                      </a:lnTo>
                      <a:lnTo>
                        <a:pt x="15368" y="29877"/>
                      </a:lnTo>
                      <a:lnTo>
                        <a:pt x="15789" y="27428"/>
                      </a:lnTo>
                      <a:lnTo>
                        <a:pt x="15789" y="25224"/>
                      </a:lnTo>
                      <a:lnTo>
                        <a:pt x="15368" y="22040"/>
                      </a:lnTo>
                      <a:lnTo>
                        <a:pt x="18736" y="20326"/>
                      </a:lnTo>
                      <a:lnTo>
                        <a:pt x="21473" y="18367"/>
                      </a:lnTo>
                      <a:lnTo>
                        <a:pt x="26105" y="13224"/>
                      </a:lnTo>
                      <a:lnTo>
                        <a:pt x="30736" y="16897"/>
                      </a:lnTo>
                      <a:lnTo>
                        <a:pt x="38105" y="23755"/>
                      </a:lnTo>
                      <a:lnTo>
                        <a:pt x="48210" y="31346"/>
                      </a:lnTo>
                      <a:lnTo>
                        <a:pt x="53894" y="33306"/>
                      </a:lnTo>
                      <a:lnTo>
                        <a:pt x="59368" y="34775"/>
                      </a:lnTo>
                      <a:lnTo>
                        <a:pt x="64631" y="30857"/>
                      </a:lnTo>
                      <a:lnTo>
                        <a:pt x="67368" y="26204"/>
                      </a:lnTo>
                      <a:lnTo>
                        <a:pt x="69894" y="22775"/>
                      </a:lnTo>
                      <a:lnTo>
                        <a:pt x="72210" y="22530"/>
                      </a:lnTo>
                      <a:lnTo>
                        <a:pt x="77473" y="23510"/>
                      </a:lnTo>
                      <a:lnTo>
                        <a:pt x="82105" y="24000"/>
                      </a:lnTo>
                      <a:lnTo>
                        <a:pt x="84842" y="20816"/>
                      </a:lnTo>
                      <a:lnTo>
                        <a:pt x="88421" y="17142"/>
                      </a:lnTo>
                      <a:lnTo>
                        <a:pt x="90105" y="11755"/>
                      </a:lnTo>
                      <a:lnTo>
                        <a:pt x="88842" y="7346"/>
                      </a:lnTo>
                      <a:lnTo>
                        <a:pt x="88421" y="2693"/>
                      </a:lnTo>
                      <a:lnTo>
                        <a:pt x="88842" y="244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1" name="Shape 895"/>
                <p:cNvSpPr/>
                <p:nvPr/>
              </p:nvSpPr>
              <p:spPr>
                <a:xfrm>
                  <a:off x="5571539" y="4614762"/>
                  <a:ext cx="1939435" cy="109501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93824" y="8115"/>
                      </a:moveTo>
                      <a:lnTo>
                        <a:pt x="95524" y="17391"/>
                      </a:lnTo>
                      <a:lnTo>
                        <a:pt x="102322" y="13913"/>
                      </a:lnTo>
                      <a:lnTo>
                        <a:pt x="102662" y="6376"/>
                      </a:lnTo>
                      <a:lnTo>
                        <a:pt x="105382" y="6956"/>
                      </a:lnTo>
                      <a:lnTo>
                        <a:pt x="108441" y="13913"/>
                      </a:lnTo>
                      <a:lnTo>
                        <a:pt x="110141" y="20289"/>
                      </a:lnTo>
                      <a:lnTo>
                        <a:pt x="111501" y="26086"/>
                      </a:lnTo>
                      <a:lnTo>
                        <a:pt x="111501" y="32463"/>
                      </a:lnTo>
                      <a:lnTo>
                        <a:pt x="116260" y="35942"/>
                      </a:lnTo>
                      <a:lnTo>
                        <a:pt x="117280" y="42898"/>
                      </a:lnTo>
                      <a:lnTo>
                        <a:pt x="115240" y="50434"/>
                      </a:lnTo>
                      <a:lnTo>
                        <a:pt x="118640" y="51014"/>
                      </a:lnTo>
                      <a:lnTo>
                        <a:pt x="120000" y="53913"/>
                      </a:lnTo>
                      <a:lnTo>
                        <a:pt x="117280" y="58550"/>
                      </a:lnTo>
                      <a:lnTo>
                        <a:pt x="117280" y="67826"/>
                      </a:lnTo>
                      <a:lnTo>
                        <a:pt x="118300" y="75942"/>
                      </a:lnTo>
                      <a:lnTo>
                        <a:pt x="117960" y="79420"/>
                      </a:lnTo>
                      <a:lnTo>
                        <a:pt x="115240" y="77681"/>
                      </a:lnTo>
                      <a:lnTo>
                        <a:pt x="114220" y="84637"/>
                      </a:lnTo>
                      <a:lnTo>
                        <a:pt x="114560" y="92753"/>
                      </a:lnTo>
                      <a:lnTo>
                        <a:pt x="114220" y="96811"/>
                      </a:lnTo>
                      <a:lnTo>
                        <a:pt x="111841" y="99130"/>
                      </a:lnTo>
                      <a:lnTo>
                        <a:pt x="114900" y="103768"/>
                      </a:lnTo>
                      <a:lnTo>
                        <a:pt x="117280" y="109565"/>
                      </a:lnTo>
                      <a:lnTo>
                        <a:pt x="113881" y="114202"/>
                      </a:lnTo>
                      <a:lnTo>
                        <a:pt x="110481" y="113043"/>
                      </a:lnTo>
                      <a:lnTo>
                        <a:pt x="96883" y="115362"/>
                      </a:lnTo>
                      <a:lnTo>
                        <a:pt x="84985" y="116521"/>
                      </a:lnTo>
                      <a:lnTo>
                        <a:pt x="75467" y="115362"/>
                      </a:lnTo>
                      <a:lnTo>
                        <a:pt x="71048" y="111304"/>
                      </a:lnTo>
                      <a:lnTo>
                        <a:pt x="62889" y="114202"/>
                      </a:lnTo>
                      <a:lnTo>
                        <a:pt x="57790" y="119420"/>
                      </a:lnTo>
                      <a:lnTo>
                        <a:pt x="48611" y="120000"/>
                      </a:lnTo>
                      <a:lnTo>
                        <a:pt x="37733" y="115942"/>
                      </a:lnTo>
                      <a:lnTo>
                        <a:pt x="29235" y="111304"/>
                      </a:lnTo>
                      <a:lnTo>
                        <a:pt x="22096" y="103768"/>
                      </a:lnTo>
                      <a:lnTo>
                        <a:pt x="18356" y="107826"/>
                      </a:lnTo>
                      <a:lnTo>
                        <a:pt x="13597" y="110144"/>
                      </a:lnTo>
                      <a:lnTo>
                        <a:pt x="9518" y="106666"/>
                      </a:lnTo>
                      <a:lnTo>
                        <a:pt x="8158" y="97391"/>
                      </a:lnTo>
                      <a:lnTo>
                        <a:pt x="6118" y="93333"/>
                      </a:lnTo>
                      <a:lnTo>
                        <a:pt x="2039" y="88115"/>
                      </a:lnTo>
                      <a:lnTo>
                        <a:pt x="7138" y="82898"/>
                      </a:lnTo>
                      <a:lnTo>
                        <a:pt x="7138" y="69565"/>
                      </a:lnTo>
                      <a:lnTo>
                        <a:pt x="4079" y="66086"/>
                      </a:lnTo>
                      <a:lnTo>
                        <a:pt x="4419" y="56231"/>
                      </a:lnTo>
                      <a:lnTo>
                        <a:pt x="0" y="43478"/>
                      </a:lnTo>
                      <a:lnTo>
                        <a:pt x="6118" y="44057"/>
                      </a:lnTo>
                      <a:lnTo>
                        <a:pt x="11218" y="43478"/>
                      </a:lnTo>
                      <a:lnTo>
                        <a:pt x="17337" y="40000"/>
                      </a:lnTo>
                      <a:lnTo>
                        <a:pt x="25495" y="47536"/>
                      </a:lnTo>
                      <a:lnTo>
                        <a:pt x="27875" y="49855"/>
                      </a:lnTo>
                      <a:lnTo>
                        <a:pt x="30254" y="42898"/>
                      </a:lnTo>
                      <a:lnTo>
                        <a:pt x="35354" y="39420"/>
                      </a:lnTo>
                      <a:lnTo>
                        <a:pt x="38413" y="29565"/>
                      </a:lnTo>
                      <a:lnTo>
                        <a:pt x="43172" y="29565"/>
                      </a:lnTo>
                      <a:lnTo>
                        <a:pt x="46912" y="28985"/>
                      </a:lnTo>
                      <a:lnTo>
                        <a:pt x="49631" y="26086"/>
                      </a:lnTo>
                      <a:lnTo>
                        <a:pt x="53371" y="17971"/>
                      </a:lnTo>
                      <a:lnTo>
                        <a:pt x="58130" y="17391"/>
                      </a:lnTo>
                      <a:lnTo>
                        <a:pt x="61189" y="20869"/>
                      </a:lnTo>
                      <a:lnTo>
                        <a:pt x="64249" y="12173"/>
                      </a:lnTo>
                      <a:lnTo>
                        <a:pt x="66628" y="11594"/>
                      </a:lnTo>
                      <a:lnTo>
                        <a:pt x="66288" y="0"/>
                      </a:lnTo>
                      <a:lnTo>
                        <a:pt x="68668" y="0"/>
                      </a:lnTo>
                      <a:lnTo>
                        <a:pt x="75467" y="6956"/>
                      </a:lnTo>
                      <a:lnTo>
                        <a:pt x="82606" y="14492"/>
                      </a:lnTo>
                      <a:lnTo>
                        <a:pt x="85325" y="9855"/>
                      </a:lnTo>
                      <a:lnTo>
                        <a:pt x="93824" y="8115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2" name="Shape 896"/>
                <p:cNvSpPr/>
                <p:nvPr/>
              </p:nvSpPr>
              <p:spPr>
                <a:xfrm>
                  <a:off x="3548201" y="4408458"/>
                  <a:ext cx="1889989" cy="100508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20000" y="120000"/>
                      </a:moveTo>
                      <a:lnTo>
                        <a:pt x="79883" y="118736"/>
                      </a:lnTo>
                      <a:lnTo>
                        <a:pt x="28255" y="116210"/>
                      </a:lnTo>
                      <a:lnTo>
                        <a:pt x="15348" y="114315"/>
                      </a:lnTo>
                      <a:lnTo>
                        <a:pt x="9069" y="114315"/>
                      </a:lnTo>
                      <a:lnTo>
                        <a:pt x="11511" y="104210"/>
                      </a:lnTo>
                      <a:lnTo>
                        <a:pt x="12558" y="94736"/>
                      </a:lnTo>
                      <a:lnTo>
                        <a:pt x="13604" y="90947"/>
                      </a:lnTo>
                      <a:lnTo>
                        <a:pt x="13604" y="85263"/>
                      </a:lnTo>
                      <a:lnTo>
                        <a:pt x="11162" y="80842"/>
                      </a:lnTo>
                      <a:lnTo>
                        <a:pt x="10813" y="76421"/>
                      </a:lnTo>
                      <a:lnTo>
                        <a:pt x="10465" y="72000"/>
                      </a:lnTo>
                      <a:lnTo>
                        <a:pt x="6976" y="66947"/>
                      </a:lnTo>
                      <a:lnTo>
                        <a:pt x="6976" y="60000"/>
                      </a:lnTo>
                      <a:lnTo>
                        <a:pt x="5930" y="55578"/>
                      </a:lnTo>
                      <a:lnTo>
                        <a:pt x="5232" y="49263"/>
                      </a:lnTo>
                      <a:lnTo>
                        <a:pt x="2790" y="47368"/>
                      </a:lnTo>
                      <a:lnTo>
                        <a:pt x="0" y="42315"/>
                      </a:lnTo>
                      <a:lnTo>
                        <a:pt x="0" y="37894"/>
                      </a:lnTo>
                      <a:lnTo>
                        <a:pt x="1046" y="34105"/>
                      </a:lnTo>
                      <a:lnTo>
                        <a:pt x="697" y="25894"/>
                      </a:lnTo>
                      <a:lnTo>
                        <a:pt x="697" y="20210"/>
                      </a:lnTo>
                      <a:lnTo>
                        <a:pt x="5232" y="18947"/>
                      </a:lnTo>
                      <a:lnTo>
                        <a:pt x="9767" y="14526"/>
                      </a:lnTo>
                      <a:lnTo>
                        <a:pt x="10813" y="6315"/>
                      </a:lnTo>
                      <a:lnTo>
                        <a:pt x="12558" y="1894"/>
                      </a:lnTo>
                      <a:lnTo>
                        <a:pt x="16744" y="0"/>
                      </a:lnTo>
                      <a:lnTo>
                        <a:pt x="18837" y="6315"/>
                      </a:lnTo>
                      <a:lnTo>
                        <a:pt x="19883" y="13263"/>
                      </a:lnTo>
                      <a:lnTo>
                        <a:pt x="23023" y="15157"/>
                      </a:lnTo>
                      <a:lnTo>
                        <a:pt x="28604" y="18947"/>
                      </a:lnTo>
                      <a:lnTo>
                        <a:pt x="35581" y="20842"/>
                      </a:lnTo>
                      <a:lnTo>
                        <a:pt x="40116" y="22105"/>
                      </a:lnTo>
                      <a:lnTo>
                        <a:pt x="45348" y="23368"/>
                      </a:lnTo>
                      <a:lnTo>
                        <a:pt x="50232" y="30947"/>
                      </a:lnTo>
                      <a:lnTo>
                        <a:pt x="54418" y="34736"/>
                      </a:lnTo>
                      <a:lnTo>
                        <a:pt x="58604" y="36000"/>
                      </a:lnTo>
                      <a:lnTo>
                        <a:pt x="65581" y="36631"/>
                      </a:lnTo>
                      <a:lnTo>
                        <a:pt x="73255" y="34736"/>
                      </a:lnTo>
                      <a:lnTo>
                        <a:pt x="80930" y="30315"/>
                      </a:lnTo>
                      <a:lnTo>
                        <a:pt x="85116" y="23368"/>
                      </a:lnTo>
                      <a:lnTo>
                        <a:pt x="89302" y="22736"/>
                      </a:lnTo>
                      <a:lnTo>
                        <a:pt x="93488" y="22105"/>
                      </a:lnTo>
                      <a:lnTo>
                        <a:pt x="97325" y="9473"/>
                      </a:lnTo>
                      <a:lnTo>
                        <a:pt x="101860" y="12631"/>
                      </a:lnTo>
                      <a:lnTo>
                        <a:pt x="101162" y="20210"/>
                      </a:lnTo>
                      <a:lnTo>
                        <a:pt x="103604" y="24000"/>
                      </a:lnTo>
                      <a:lnTo>
                        <a:pt x="110930" y="63157"/>
                      </a:lnTo>
                      <a:lnTo>
                        <a:pt x="120000" y="12000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3" name="Shape 897"/>
                <p:cNvSpPr/>
                <p:nvPr/>
              </p:nvSpPr>
              <p:spPr>
                <a:xfrm>
                  <a:off x="2860688" y="4561862"/>
                  <a:ext cx="906537" cy="102094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20363" y="27979"/>
                      </a:moveTo>
                      <a:lnTo>
                        <a:pt x="36363" y="27357"/>
                      </a:lnTo>
                      <a:lnTo>
                        <a:pt x="40727" y="7461"/>
                      </a:lnTo>
                      <a:lnTo>
                        <a:pt x="61818" y="1865"/>
                      </a:lnTo>
                      <a:lnTo>
                        <a:pt x="76363" y="0"/>
                      </a:lnTo>
                      <a:lnTo>
                        <a:pt x="93090" y="2487"/>
                      </a:lnTo>
                      <a:lnTo>
                        <a:pt x="93818" y="16165"/>
                      </a:lnTo>
                      <a:lnTo>
                        <a:pt x="90181" y="23626"/>
                      </a:lnTo>
                      <a:lnTo>
                        <a:pt x="98181" y="29222"/>
                      </a:lnTo>
                      <a:lnTo>
                        <a:pt x="104000" y="31709"/>
                      </a:lnTo>
                      <a:lnTo>
                        <a:pt x="106181" y="39170"/>
                      </a:lnTo>
                      <a:lnTo>
                        <a:pt x="106909" y="44766"/>
                      </a:lnTo>
                      <a:lnTo>
                        <a:pt x="112000" y="52227"/>
                      </a:lnTo>
                      <a:lnTo>
                        <a:pt x="114909" y="60932"/>
                      </a:lnTo>
                      <a:lnTo>
                        <a:pt x="120000" y="69015"/>
                      </a:lnTo>
                      <a:lnTo>
                        <a:pt x="112000" y="98238"/>
                      </a:lnTo>
                      <a:lnTo>
                        <a:pt x="88000" y="106321"/>
                      </a:lnTo>
                      <a:lnTo>
                        <a:pt x="60363" y="117512"/>
                      </a:lnTo>
                      <a:lnTo>
                        <a:pt x="31272" y="119378"/>
                      </a:lnTo>
                      <a:lnTo>
                        <a:pt x="21818" y="120000"/>
                      </a:lnTo>
                      <a:lnTo>
                        <a:pt x="18181" y="115647"/>
                      </a:lnTo>
                      <a:lnTo>
                        <a:pt x="8000" y="96373"/>
                      </a:lnTo>
                      <a:lnTo>
                        <a:pt x="26909" y="103212"/>
                      </a:lnTo>
                      <a:lnTo>
                        <a:pt x="41454" y="104455"/>
                      </a:lnTo>
                      <a:lnTo>
                        <a:pt x="47272" y="105699"/>
                      </a:lnTo>
                      <a:lnTo>
                        <a:pt x="58181" y="106943"/>
                      </a:lnTo>
                      <a:lnTo>
                        <a:pt x="66181" y="101968"/>
                      </a:lnTo>
                      <a:lnTo>
                        <a:pt x="76363" y="92020"/>
                      </a:lnTo>
                      <a:lnTo>
                        <a:pt x="79272" y="88290"/>
                      </a:lnTo>
                      <a:lnTo>
                        <a:pt x="64727" y="95129"/>
                      </a:lnTo>
                      <a:lnTo>
                        <a:pt x="61818" y="100725"/>
                      </a:lnTo>
                      <a:lnTo>
                        <a:pt x="52363" y="104455"/>
                      </a:lnTo>
                      <a:lnTo>
                        <a:pt x="45818" y="101347"/>
                      </a:lnTo>
                      <a:lnTo>
                        <a:pt x="34909" y="99481"/>
                      </a:lnTo>
                      <a:lnTo>
                        <a:pt x="23272" y="99481"/>
                      </a:lnTo>
                      <a:lnTo>
                        <a:pt x="11636" y="97616"/>
                      </a:lnTo>
                      <a:lnTo>
                        <a:pt x="2181" y="93886"/>
                      </a:lnTo>
                      <a:lnTo>
                        <a:pt x="0" y="88290"/>
                      </a:lnTo>
                      <a:lnTo>
                        <a:pt x="0" y="73989"/>
                      </a:lnTo>
                      <a:lnTo>
                        <a:pt x="5090" y="65906"/>
                      </a:lnTo>
                      <a:lnTo>
                        <a:pt x="5818" y="60310"/>
                      </a:lnTo>
                      <a:lnTo>
                        <a:pt x="14545" y="47253"/>
                      </a:lnTo>
                      <a:lnTo>
                        <a:pt x="18181" y="39170"/>
                      </a:lnTo>
                      <a:lnTo>
                        <a:pt x="13818" y="34196"/>
                      </a:lnTo>
                      <a:lnTo>
                        <a:pt x="20363" y="27979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4" name="Shape 898"/>
                <p:cNvSpPr/>
                <p:nvPr/>
              </p:nvSpPr>
              <p:spPr>
                <a:xfrm>
                  <a:off x="2062659" y="4778750"/>
                  <a:ext cx="957354" cy="87283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17934" y="2545"/>
                      </a:moveTo>
                      <a:lnTo>
                        <a:pt x="32539" y="0"/>
                      </a:lnTo>
                      <a:lnTo>
                        <a:pt x="26513" y="909"/>
                      </a:lnTo>
                      <a:lnTo>
                        <a:pt x="16011" y="4363"/>
                      </a:lnTo>
                      <a:lnTo>
                        <a:pt x="12912" y="7454"/>
                      </a:lnTo>
                      <a:lnTo>
                        <a:pt x="11879" y="17818"/>
                      </a:lnTo>
                      <a:lnTo>
                        <a:pt x="11535" y="32000"/>
                      </a:lnTo>
                      <a:lnTo>
                        <a:pt x="7230" y="40363"/>
                      </a:lnTo>
                      <a:lnTo>
                        <a:pt x="3615" y="56000"/>
                      </a:lnTo>
                      <a:lnTo>
                        <a:pt x="2582" y="58181"/>
                      </a:lnTo>
                      <a:lnTo>
                        <a:pt x="6370" y="60363"/>
                      </a:lnTo>
                      <a:lnTo>
                        <a:pt x="4820" y="66545"/>
                      </a:lnTo>
                      <a:lnTo>
                        <a:pt x="6886" y="68000"/>
                      </a:lnTo>
                      <a:lnTo>
                        <a:pt x="11879" y="64181"/>
                      </a:lnTo>
                      <a:lnTo>
                        <a:pt x="22898" y="72363"/>
                      </a:lnTo>
                      <a:lnTo>
                        <a:pt x="22898" y="75272"/>
                      </a:lnTo>
                      <a:lnTo>
                        <a:pt x="28063" y="71272"/>
                      </a:lnTo>
                      <a:lnTo>
                        <a:pt x="29440" y="78545"/>
                      </a:lnTo>
                      <a:lnTo>
                        <a:pt x="34777" y="80000"/>
                      </a:lnTo>
                      <a:lnTo>
                        <a:pt x="39426" y="75090"/>
                      </a:lnTo>
                      <a:lnTo>
                        <a:pt x="42869" y="76727"/>
                      </a:lnTo>
                      <a:lnTo>
                        <a:pt x="47173" y="84000"/>
                      </a:lnTo>
                      <a:lnTo>
                        <a:pt x="53371" y="87090"/>
                      </a:lnTo>
                      <a:lnTo>
                        <a:pt x="57331" y="81636"/>
                      </a:lnTo>
                      <a:lnTo>
                        <a:pt x="63012" y="80727"/>
                      </a:lnTo>
                      <a:lnTo>
                        <a:pt x="69210" y="83454"/>
                      </a:lnTo>
                      <a:lnTo>
                        <a:pt x="75408" y="84363"/>
                      </a:lnTo>
                      <a:lnTo>
                        <a:pt x="79540" y="86000"/>
                      </a:lnTo>
                      <a:lnTo>
                        <a:pt x="87804" y="86000"/>
                      </a:lnTo>
                      <a:lnTo>
                        <a:pt x="91592" y="83818"/>
                      </a:lnTo>
                      <a:lnTo>
                        <a:pt x="93658" y="83272"/>
                      </a:lnTo>
                      <a:lnTo>
                        <a:pt x="99856" y="81090"/>
                      </a:lnTo>
                      <a:lnTo>
                        <a:pt x="102266" y="84000"/>
                      </a:lnTo>
                      <a:lnTo>
                        <a:pt x="98651" y="86000"/>
                      </a:lnTo>
                      <a:lnTo>
                        <a:pt x="87460" y="89272"/>
                      </a:lnTo>
                      <a:lnTo>
                        <a:pt x="76614" y="89272"/>
                      </a:lnTo>
                      <a:lnTo>
                        <a:pt x="67661" y="89818"/>
                      </a:lnTo>
                      <a:lnTo>
                        <a:pt x="62668" y="89818"/>
                      </a:lnTo>
                      <a:lnTo>
                        <a:pt x="59569" y="87272"/>
                      </a:lnTo>
                      <a:lnTo>
                        <a:pt x="54232" y="89818"/>
                      </a:lnTo>
                      <a:lnTo>
                        <a:pt x="47517" y="89454"/>
                      </a:lnTo>
                      <a:lnTo>
                        <a:pt x="43041" y="87818"/>
                      </a:lnTo>
                      <a:lnTo>
                        <a:pt x="37187" y="87272"/>
                      </a:lnTo>
                      <a:lnTo>
                        <a:pt x="34088" y="88909"/>
                      </a:lnTo>
                      <a:lnTo>
                        <a:pt x="30989" y="88181"/>
                      </a:lnTo>
                      <a:lnTo>
                        <a:pt x="27030" y="84000"/>
                      </a:lnTo>
                      <a:lnTo>
                        <a:pt x="24275" y="80545"/>
                      </a:lnTo>
                      <a:lnTo>
                        <a:pt x="22209" y="82363"/>
                      </a:lnTo>
                      <a:lnTo>
                        <a:pt x="21865" y="87636"/>
                      </a:lnTo>
                      <a:lnTo>
                        <a:pt x="19626" y="90000"/>
                      </a:lnTo>
                      <a:lnTo>
                        <a:pt x="17044" y="90000"/>
                      </a:lnTo>
                      <a:lnTo>
                        <a:pt x="15667" y="92727"/>
                      </a:lnTo>
                      <a:lnTo>
                        <a:pt x="20143" y="98545"/>
                      </a:lnTo>
                      <a:lnTo>
                        <a:pt x="17216" y="100363"/>
                      </a:lnTo>
                      <a:lnTo>
                        <a:pt x="11879" y="98000"/>
                      </a:lnTo>
                      <a:lnTo>
                        <a:pt x="7403" y="95272"/>
                      </a:lnTo>
                      <a:lnTo>
                        <a:pt x="6197" y="90545"/>
                      </a:lnTo>
                      <a:lnTo>
                        <a:pt x="2065" y="94181"/>
                      </a:lnTo>
                      <a:lnTo>
                        <a:pt x="688" y="101272"/>
                      </a:lnTo>
                      <a:lnTo>
                        <a:pt x="688" y="106181"/>
                      </a:lnTo>
                      <a:lnTo>
                        <a:pt x="0" y="110000"/>
                      </a:lnTo>
                      <a:lnTo>
                        <a:pt x="2754" y="111090"/>
                      </a:lnTo>
                      <a:lnTo>
                        <a:pt x="6714" y="115636"/>
                      </a:lnTo>
                      <a:lnTo>
                        <a:pt x="12912" y="120000"/>
                      </a:lnTo>
                      <a:lnTo>
                        <a:pt x="24275" y="118909"/>
                      </a:lnTo>
                      <a:lnTo>
                        <a:pt x="36671" y="118727"/>
                      </a:lnTo>
                      <a:lnTo>
                        <a:pt x="46484" y="118181"/>
                      </a:lnTo>
                      <a:lnTo>
                        <a:pt x="58364" y="114545"/>
                      </a:lnTo>
                      <a:lnTo>
                        <a:pt x="72998" y="110181"/>
                      </a:lnTo>
                      <a:lnTo>
                        <a:pt x="82123" y="107272"/>
                      </a:lnTo>
                      <a:lnTo>
                        <a:pt x="90387" y="105818"/>
                      </a:lnTo>
                      <a:lnTo>
                        <a:pt x="99856" y="105636"/>
                      </a:lnTo>
                      <a:lnTo>
                        <a:pt x="113285" y="110000"/>
                      </a:lnTo>
                      <a:lnTo>
                        <a:pt x="118967" y="110000"/>
                      </a:lnTo>
                      <a:lnTo>
                        <a:pt x="115695" y="100363"/>
                      </a:lnTo>
                      <a:lnTo>
                        <a:pt x="109670" y="84545"/>
                      </a:lnTo>
                      <a:lnTo>
                        <a:pt x="101922" y="80000"/>
                      </a:lnTo>
                      <a:lnTo>
                        <a:pt x="100373" y="70363"/>
                      </a:lnTo>
                      <a:lnTo>
                        <a:pt x="100373" y="59818"/>
                      </a:lnTo>
                      <a:lnTo>
                        <a:pt x="100373" y="54909"/>
                      </a:lnTo>
                      <a:lnTo>
                        <a:pt x="105538" y="46909"/>
                      </a:lnTo>
                      <a:lnTo>
                        <a:pt x="105365" y="40909"/>
                      </a:lnTo>
                      <a:lnTo>
                        <a:pt x="111563" y="27636"/>
                      </a:lnTo>
                      <a:lnTo>
                        <a:pt x="116728" y="16909"/>
                      </a:lnTo>
                      <a:lnTo>
                        <a:pt x="113802" y="9636"/>
                      </a:lnTo>
                      <a:lnTo>
                        <a:pt x="120000" y="2545"/>
                      </a:lnTo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36000" tIns="45700" rIns="36000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5" name="Shape 899"/>
                <p:cNvSpPr/>
                <p:nvPr/>
              </p:nvSpPr>
              <p:spPr>
                <a:xfrm>
                  <a:off x="3224790" y="3096896"/>
                  <a:ext cx="1280137" cy="11532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46094" y="7155"/>
                      </a:moveTo>
                      <a:lnTo>
                        <a:pt x="42746" y="19816"/>
                      </a:lnTo>
                      <a:lnTo>
                        <a:pt x="37339" y="21743"/>
                      </a:lnTo>
                      <a:lnTo>
                        <a:pt x="29613" y="21743"/>
                      </a:lnTo>
                      <a:lnTo>
                        <a:pt x="25236" y="22018"/>
                      </a:lnTo>
                      <a:lnTo>
                        <a:pt x="20600" y="26146"/>
                      </a:lnTo>
                      <a:lnTo>
                        <a:pt x="14420" y="32477"/>
                      </a:lnTo>
                      <a:lnTo>
                        <a:pt x="10300" y="37981"/>
                      </a:lnTo>
                      <a:lnTo>
                        <a:pt x="7982" y="39908"/>
                      </a:lnTo>
                      <a:lnTo>
                        <a:pt x="6952" y="47339"/>
                      </a:lnTo>
                      <a:lnTo>
                        <a:pt x="6952" y="54495"/>
                      </a:lnTo>
                      <a:lnTo>
                        <a:pt x="3862" y="63853"/>
                      </a:lnTo>
                      <a:lnTo>
                        <a:pt x="515" y="70733"/>
                      </a:lnTo>
                      <a:lnTo>
                        <a:pt x="0" y="74311"/>
                      </a:lnTo>
                      <a:lnTo>
                        <a:pt x="3347" y="74587"/>
                      </a:lnTo>
                      <a:lnTo>
                        <a:pt x="4892" y="78165"/>
                      </a:lnTo>
                      <a:lnTo>
                        <a:pt x="11330" y="79816"/>
                      </a:lnTo>
                      <a:lnTo>
                        <a:pt x="11587" y="87522"/>
                      </a:lnTo>
                      <a:lnTo>
                        <a:pt x="19313" y="92201"/>
                      </a:lnTo>
                      <a:lnTo>
                        <a:pt x="21888" y="96055"/>
                      </a:lnTo>
                      <a:lnTo>
                        <a:pt x="21373" y="100733"/>
                      </a:lnTo>
                      <a:lnTo>
                        <a:pt x="19055" y="102935"/>
                      </a:lnTo>
                      <a:lnTo>
                        <a:pt x="22403" y="108440"/>
                      </a:lnTo>
                      <a:lnTo>
                        <a:pt x="26781" y="112293"/>
                      </a:lnTo>
                      <a:lnTo>
                        <a:pt x="29871" y="109541"/>
                      </a:lnTo>
                      <a:lnTo>
                        <a:pt x="31673" y="106238"/>
                      </a:lnTo>
                      <a:lnTo>
                        <a:pt x="36051" y="107339"/>
                      </a:lnTo>
                      <a:lnTo>
                        <a:pt x="40171" y="109266"/>
                      </a:lnTo>
                      <a:lnTo>
                        <a:pt x="44549" y="108990"/>
                      </a:lnTo>
                      <a:lnTo>
                        <a:pt x="49442" y="111467"/>
                      </a:lnTo>
                      <a:lnTo>
                        <a:pt x="50214" y="115871"/>
                      </a:lnTo>
                      <a:lnTo>
                        <a:pt x="50987" y="118073"/>
                      </a:lnTo>
                      <a:lnTo>
                        <a:pt x="55879" y="116422"/>
                      </a:lnTo>
                      <a:lnTo>
                        <a:pt x="60000" y="115321"/>
                      </a:lnTo>
                      <a:lnTo>
                        <a:pt x="62060" y="115596"/>
                      </a:lnTo>
                      <a:lnTo>
                        <a:pt x="67725" y="116697"/>
                      </a:lnTo>
                      <a:lnTo>
                        <a:pt x="75193" y="120000"/>
                      </a:lnTo>
                      <a:lnTo>
                        <a:pt x="75193" y="116697"/>
                      </a:lnTo>
                      <a:lnTo>
                        <a:pt x="79055" y="110917"/>
                      </a:lnTo>
                      <a:lnTo>
                        <a:pt x="90901" y="105137"/>
                      </a:lnTo>
                      <a:lnTo>
                        <a:pt x="100171" y="98532"/>
                      </a:lnTo>
                      <a:lnTo>
                        <a:pt x="107124" y="86422"/>
                      </a:lnTo>
                      <a:lnTo>
                        <a:pt x="112274" y="75412"/>
                      </a:lnTo>
                      <a:lnTo>
                        <a:pt x="112274" y="70183"/>
                      </a:lnTo>
                      <a:lnTo>
                        <a:pt x="111244" y="62201"/>
                      </a:lnTo>
                      <a:lnTo>
                        <a:pt x="115879" y="48165"/>
                      </a:lnTo>
                      <a:lnTo>
                        <a:pt x="112274" y="45688"/>
                      </a:lnTo>
                      <a:lnTo>
                        <a:pt x="111759" y="41559"/>
                      </a:lnTo>
                      <a:lnTo>
                        <a:pt x="113304" y="30825"/>
                      </a:lnTo>
                      <a:lnTo>
                        <a:pt x="112017" y="21467"/>
                      </a:lnTo>
                      <a:lnTo>
                        <a:pt x="120000" y="17889"/>
                      </a:lnTo>
                      <a:lnTo>
                        <a:pt x="117939" y="14587"/>
                      </a:lnTo>
                      <a:lnTo>
                        <a:pt x="113562" y="12385"/>
                      </a:lnTo>
                      <a:lnTo>
                        <a:pt x="101974" y="9908"/>
                      </a:lnTo>
                      <a:lnTo>
                        <a:pt x="91931" y="9357"/>
                      </a:lnTo>
                      <a:lnTo>
                        <a:pt x="88841" y="8807"/>
                      </a:lnTo>
                      <a:lnTo>
                        <a:pt x="84206" y="5504"/>
                      </a:lnTo>
                      <a:lnTo>
                        <a:pt x="79570" y="0"/>
                      </a:lnTo>
                      <a:lnTo>
                        <a:pt x="72618" y="1926"/>
                      </a:lnTo>
                      <a:lnTo>
                        <a:pt x="67467" y="8532"/>
                      </a:lnTo>
                      <a:lnTo>
                        <a:pt x="61802" y="12660"/>
                      </a:lnTo>
                      <a:lnTo>
                        <a:pt x="57939" y="12385"/>
                      </a:lnTo>
                      <a:lnTo>
                        <a:pt x="51502" y="9357"/>
                      </a:lnTo>
                      <a:lnTo>
                        <a:pt x="46094" y="7155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6" name="Shape 900"/>
                <p:cNvSpPr/>
                <p:nvPr/>
              </p:nvSpPr>
              <p:spPr>
                <a:xfrm>
                  <a:off x="2696514" y="3543282"/>
                  <a:ext cx="1082443" cy="84733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120000" y="96894"/>
                      </a:moveTo>
                      <a:lnTo>
                        <a:pt x="114822" y="96521"/>
                      </a:lnTo>
                      <a:lnTo>
                        <a:pt x="106294" y="94658"/>
                      </a:lnTo>
                      <a:lnTo>
                        <a:pt x="99289" y="93913"/>
                      </a:lnTo>
                      <a:lnTo>
                        <a:pt x="94720" y="94658"/>
                      </a:lnTo>
                      <a:lnTo>
                        <a:pt x="90152" y="101739"/>
                      </a:lnTo>
                      <a:lnTo>
                        <a:pt x="87411" y="104347"/>
                      </a:lnTo>
                      <a:lnTo>
                        <a:pt x="84060" y="112546"/>
                      </a:lnTo>
                      <a:lnTo>
                        <a:pt x="80710" y="120000"/>
                      </a:lnTo>
                      <a:lnTo>
                        <a:pt x="71878" y="120000"/>
                      </a:lnTo>
                      <a:lnTo>
                        <a:pt x="58172" y="119627"/>
                      </a:lnTo>
                      <a:lnTo>
                        <a:pt x="34416" y="118509"/>
                      </a:lnTo>
                      <a:lnTo>
                        <a:pt x="33502" y="115527"/>
                      </a:lnTo>
                      <a:lnTo>
                        <a:pt x="31675" y="112919"/>
                      </a:lnTo>
                      <a:lnTo>
                        <a:pt x="27715" y="108074"/>
                      </a:lnTo>
                      <a:lnTo>
                        <a:pt x="26497" y="105465"/>
                      </a:lnTo>
                      <a:lnTo>
                        <a:pt x="24060" y="102111"/>
                      </a:lnTo>
                      <a:lnTo>
                        <a:pt x="22233" y="97267"/>
                      </a:lnTo>
                      <a:lnTo>
                        <a:pt x="20710" y="93167"/>
                      </a:lnTo>
                      <a:lnTo>
                        <a:pt x="18274" y="89813"/>
                      </a:lnTo>
                      <a:lnTo>
                        <a:pt x="15837" y="86832"/>
                      </a:lnTo>
                      <a:lnTo>
                        <a:pt x="15837" y="81242"/>
                      </a:lnTo>
                      <a:lnTo>
                        <a:pt x="18578" y="77142"/>
                      </a:lnTo>
                      <a:lnTo>
                        <a:pt x="20101" y="71552"/>
                      </a:lnTo>
                      <a:lnTo>
                        <a:pt x="20406" y="66708"/>
                      </a:lnTo>
                      <a:lnTo>
                        <a:pt x="18578" y="59254"/>
                      </a:lnTo>
                      <a:lnTo>
                        <a:pt x="15532" y="52173"/>
                      </a:lnTo>
                      <a:lnTo>
                        <a:pt x="16751" y="42857"/>
                      </a:lnTo>
                      <a:lnTo>
                        <a:pt x="15532" y="38385"/>
                      </a:lnTo>
                      <a:lnTo>
                        <a:pt x="11573" y="35403"/>
                      </a:lnTo>
                      <a:lnTo>
                        <a:pt x="7918" y="30931"/>
                      </a:lnTo>
                      <a:lnTo>
                        <a:pt x="13401" y="28695"/>
                      </a:lnTo>
                      <a:lnTo>
                        <a:pt x="15228" y="28322"/>
                      </a:lnTo>
                      <a:lnTo>
                        <a:pt x="11573" y="24968"/>
                      </a:lnTo>
                      <a:lnTo>
                        <a:pt x="7918" y="24596"/>
                      </a:lnTo>
                      <a:lnTo>
                        <a:pt x="2131" y="27950"/>
                      </a:lnTo>
                      <a:lnTo>
                        <a:pt x="0" y="29068"/>
                      </a:lnTo>
                      <a:lnTo>
                        <a:pt x="3045" y="19751"/>
                      </a:lnTo>
                      <a:lnTo>
                        <a:pt x="5482" y="15652"/>
                      </a:lnTo>
                      <a:lnTo>
                        <a:pt x="8527" y="7080"/>
                      </a:lnTo>
                      <a:lnTo>
                        <a:pt x="15532" y="3354"/>
                      </a:lnTo>
                      <a:lnTo>
                        <a:pt x="27715" y="0"/>
                      </a:lnTo>
                      <a:lnTo>
                        <a:pt x="31675" y="1118"/>
                      </a:lnTo>
                      <a:lnTo>
                        <a:pt x="28629" y="8944"/>
                      </a:lnTo>
                      <a:lnTo>
                        <a:pt x="27411" y="17515"/>
                      </a:lnTo>
                      <a:lnTo>
                        <a:pt x="28629" y="24596"/>
                      </a:lnTo>
                      <a:lnTo>
                        <a:pt x="34111" y="32422"/>
                      </a:lnTo>
                      <a:lnTo>
                        <a:pt x="39289" y="39130"/>
                      </a:lnTo>
                      <a:lnTo>
                        <a:pt x="48426" y="41366"/>
                      </a:lnTo>
                      <a:lnTo>
                        <a:pt x="53908" y="38385"/>
                      </a:lnTo>
                      <a:lnTo>
                        <a:pt x="58172" y="36894"/>
                      </a:lnTo>
                      <a:lnTo>
                        <a:pt x="62741" y="37639"/>
                      </a:lnTo>
                      <a:lnTo>
                        <a:pt x="65177" y="41366"/>
                      </a:lnTo>
                      <a:lnTo>
                        <a:pt x="73705" y="44720"/>
                      </a:lnTo>
                      <a:lnTo>
                        <a:pt x="74010" y="55155"/>
                      </a:lnTo>
                      <a:lnTo>
                        <a:pt x="78274" y="58136"/>
                      </a:lnTo>
                      <a:lnTo>
                        <a:pt x="83756" y="62608"/>
                      </a:lnTo>
                      <a:lnTo>
                        <a:pt x="84974" y="69689"/>
                      </a:lnTo>
                      <a:lnTo>
                        <a:pt x="83451" y="74906"/>
                      </a:lnTo>
                      <a:lnTo>
                        <a:pt x="84060" y="79378"/>
                      </a:lnTo>
                      <a:lnTo>
                        <a:pt x="89847" y="87577"/>
                      </a:lnTo>
                      <a:lnTo>
                        <a:pt x="92588" y="89068"/>
                      </a:lnTo>
                      <a:lnTo>
                        <a:pt x="96852" y="81987"/>
                      </a:lnTo>
                      <a:lnTo>
                        <a:pt x="100507" y="80124"/>
                      </a:lnTo>
                      <a:lnTo>
                        <a:pt x="105685" y="84596"/>
                      </a:lnTo>
                      <a:lnTo>
                        <a:pt x="114213" y="84968"/>
                      </a:lnTo>
                      <a:lnTo>
                        <a:pt x="118172" y="88322"/>
                      </a:lnTo>
                      <a:lnTo>
                        <a:pt x="120000" y="96894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7" name="Shape 901"/>
                <p:cNvSpPr/>
                <p:nvPr/>
              </p:nvSpPr>
              <p:spPr>
                <a:xfrm>
                  <a:off x="2202132" y="2956375"/>
                  <a:ext cx="1530126" cy="142177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0" y="69450"/>
                      </a:moveTo>
                      <a:lnTo>
                        <a:pt x="5385" y="67472"/>
                      </a:lnTo>
                      <a:lnTo>
                        <a:pt x="6678" y="62857"/>
                      </a:lnTo>
                      <a:lnTo>
                        <a:pt x="5385" y="58681"/>
                      </a:lnTo>
                      <a:lnTo>
                        <a:pt x="5170" y="56703"/>
                      </a:lnTo>
                      <a:lnTo>
                        <a:pt x="6678" y="51648"/>
                      </a:lnTo>
                      <a:lnTo>
                        <a:pt x="7971" y="45494"/>
                      </a:lnTo>
                      <a:lnTo>
                        <a:pt x="9910" y="39120"/>
                      </a:lnTo>
                      <a:lnTo>
                        <a:pt x="14865" y="34945"/>
                      </a:lnTo>
                      <a:lnTo>
                        <a:pt x="19605" y="30549"/>
                      </a:lnTo>
                      <a:lnTo>
                        <a:pt x="21759" y="28351"/>
                      </a:lnTo>
                      <a:lnTo>
                        <a:pt x="27791" y="27472"/>
                      </a:lnTo>
                      <a:lnTo>
                        <a:pt x="37701" y="28571"/>
                      </a:lnTo>
                      <a:lnTo>
                        <a:pt x="47612" y="29890"/>
                      </a:lnTo>
                      <a:lnTo>
                        <a:pt x="56445" y="31648"/>
                      </a:lnTo>
                      <a:lnTo>
                        <a:pt x="66570" y="32307"/>
                      </a:lnTo>
                      <a:lnTo>
                        <a:pt x="73249" y="32307"/>
                      </a:lnTo>
                      <a:lnTo>
                        <a:pt x="82513" y="28791"/>
                      </a:lnTo>
                      <a:lnTo>
                        <a:pt x="88114" y="21538"/>
                      </a:lnTo>
                      <a:lnTo>
                        <a:pt x="90915" y="12087"/>
                      </a:lnTo>
                      <a:lnTo>
                        <a:pt x="94362" y="1978"/>
                      </a:lnTo>
                      <a:lnTo>
                        <a:pt x="98025" y="0"/>
                      </a:lnTo>
                      <a:lnTo>
                        <a:pt x="103195" y="0"/>
                      </a:lnTo>
                      <a:lnTo>
                        <a:pt x="106211" y="3076"/>
                      </a:lnTo>
                      <a:lnTo>
                        <a:pt x="112459" y="1758"/>
                      </a:lnTo>
                      <a:lnTo>
                        <a:pt x="113321" y="7032"/>
                      </a:lnTo>
                      <a:lnTo>
                        <a:pt x="113536" y="9890"/>
                      </a:lnTo>
                      <a:lnTo>
                        <a:pt x="116122" y="13186"/>
                      </a:lnTo>
                      <a:lnTo>
                        <a:pt x="120000" y="16703"/>
                      </a:lnTo>
                      <a:lnTo>
                        <a:pt x="117630" y="24175"/>
                      </a:lnTo>
                      <a:lnTo>
                        <a:pt x="116337" y="27692"/>
                      </a:lnTo>
                      <a:lnTo>
                        <a:pt x="115044" y="29010"/>
                      </a:lnTo>
                      <a:lnTo>
                        <a:pt x="111382" y="29010"/>
                      </a:lnTo>
                      <a:lnTo>
                        <a:pt x="107719" y="29670"/>
                      </a:lnTo>
                      <a:lnTo>
                        <a:pt x="103411" y="29670"/>
                      </a:lnTo>
                      <a:lnTo>
                        <a:pt x="101256" y="30549"/>
                      </a:lnTo>
                      <a:lnTo>
                        <a:pt x="95870" y="34945"/>
                      </a:lnTo>
                      <a:lnTo>
                        <a:pt x="87253" y="45494"/>
                      </a:lnTo>
                      <a:lnTo>
                        <a:pt x="86822" y="52527"/>
                      </a:lnTo>
                      <a:lnTo>
                        <a:pt x="86175" y="58901"/>
                      </a:lnTo>
                      <a:lnTo>
                        <a:pt x="81220" y="70109"/>
                      </a:lnTo>
                      <a:lnTo>
                        <a:pt x="80574" y="71648"/>
                      </a:lnTo>
                      <a:lnTo>
                        <a:pt x="75834" y="73186"/>
                      </a:lnTo>
                      <a:lnTo>
                        <a:pt x="71095" y="74505"/>
                      </a:lnTo>
                      <a:lnTo>
                        <a:pt x="68294" y="73626"/>
                      </a:lnTo>
                      <a:lnTo>
                        <a:pt x="66570" y="72307"/>
                      </a:lnTo>
                      <a:lnTo>
                        <a:pt x="63554" y="70329"/>
                      </a:lnTo>
                      <a:lnTo>
                        <a:pt x="60969" y="67032"/>
                      </a:lnTo>
                      <a:lnTo>
                        <a:pt x="59461" y="64395"/>
                      </a:lnTo>
                      <a:lnTo>
                        <a:pt x="58599" y="60219"/>
                      </a:lnTo>
                      <a:lnTo>
                        <a:pt x="58384" y="56263"/>
                      </a:lnTo>
                      <a:lnTo>
                        <a:pt x="60323" y="52747"/>
                      </a:lnTo>
                      <a:lnTo>
                        <a:pt x="61400" y="50109"/>
                      </a:lnTo>
                      <a:lnTo>
                        <a:pt x="59030" y="49670"/>
                      </a:lnTo>
                      <a:lnTo>
                        <a:pt x="53644" y="50989"/>
                      </a:lnTo>
                      <a:lnTo>
                        <a:pt x="48043" y="52967"/>
                      </a:lnTo>
                      <a:lnTo>
                        <a:pt x="45242" y="52967"/>
                      </a:lnTo>
                      <a:lnTo>
                        <a:pt x="43518" y="56923"/>
                      </a:lnTo>
                      <a:lnTo>
                        <a:pt x="41364" y="60439"/>
                      </a:lnTo>
                      <a:lnTo>
                        <a:pt x="39210" y="63516"/>
                      </a:lnTo>
                      <a:lnTo>
                        <a:pt x="38132" y="66813"/>
                      </a:lnTo>
                      <a:lnTo>
                        <a:pt x="41364" y="66153"/>
                      </a:lnTo>
                      <a:lnTo>
                        <a:pt x="43949" y="64835"/>
                      </a:lnTo>
                      <a:lnTo>
                        <a:pt x="46535" y="65054"/>
                      </a:lnTo>
                      <a:lnTo>
                        <a:pt x="49766" y="66593"/>
                      </a:lnTo>
                      <a:lnTo>
                        <a:pt x="46319" y="67472"/>
                      </a:lnTo>
                      <a:lnTo>
                        <a:pt x="45026" y="67692"/>
                      </a:lnTo>
                      <a:lnTo>
                        <a:pt x="46535" y="70109"/>
                      </a:lnTo>
                      <a:lnTo>
                        <a:pt x="49766" y="72307"/>
                      </a:lnTo>
                      <a:lnTo>
                        <a:pt x="50197" y="76923"/>
                      </a:lnTo>
                      <a:lnTo>
                        <a:pt x="50197" y="78461"/>
                      </a:lnTo>
                      <a:lnTo>
                        <a:pt x="50843" y="80659"/>
                      </a:lnTo>
                      <a:lnTo>
                        <a:pt x="51490" y="84835"/>
                      </a:lnTo>
                      <a:lnTo>
                        <a:pt x="52782" y="89670"/>
                      </a:lnTo>
                      <a:lnTo>
                        <a:pt x="51921" y="93846"/>
                      </a:lnTo>
                      <a:lnTo>
                        <a:pt x="49766" y="99340"/>
                      </a:lnTo>
                      <a:lnTo>
                        <a:pt x="50843" y="101978"/>
                      </a:lnTo>
                      <a:lnTo>
                        <a:pt x="52998" y="105934"/>
                      </a:lnTo>
                      <a:lnTo>
                        <a:pt x="55798" y="109450"/>
                      </a:lnTo>
                      <a:lnTo>
                        <a:pt x="59676" y="115604"/>
                      </a:lnTo>
                      <a:lnTo>
                        <a:pt x="63339" y="119999"/>
                      </a:lnTo>
                      <a:lnTo>
                        <a:pt x="55798" y="119999"/>
                      </a:lnTo>
                      <a:lnTo>
                        <a:pt x="45457" y="119340"/>
                      </a:lnTo>
                      <a:lnTo>
                        <a:pt x="27791" y="118901"/>
                      </a:lnTo>
                      <a:lnTo>
                        <a:pt x="16588" y="118241"/>
                      </a:lnTo>
                      <a:lnTo>
                        <a:pt x="15511" y="114725"/>
                      </a:lnTo>
                      <a:lnTo>
                        <a:pt x="14219" y="111208"/>
                      </a:lnTo>
                      <a:lnTo>
                        <a:pt x="11633" y="110769"/>
                      </a:lnTo>
                      <a:lnTo>
                        <a:pt x="9910" y="109230"/>
                      </a:lnTo>
                      <a:lnTo>
                        <a:pt x="9479" y="105494"/>
                      </a:lnTo>
                      <a:lnTo>
                        <a:pt x="10341" y="100219"/>
                      </a:lnTo>
                      <a:lnTo>
                        <a:pt x="12064" y="97142"/>
                      </a:lnTo>
                      <a:lnTo>
                        <a:pt x="15727" y="95824"/>
                      </a:lnTo>
                      <a:lnTo>
                        <a:pt x="20897" y="94285"/>
                      </a:lnTo>
                      <a:lnTo>
                        <a:pt x="21974" y="91648"/>
                      </a:lnTo>
                      <a:lnTo>
                        <a:pt x="24991" y="89890"/>
                      </a:lnTo>
                      <a:lnTo>
                        <a:pt x="23052" y="87692"/>
                      </a:lnTo>
                      <a:lnTo>
                        <a:pt x="24775" y="84615"/>
                      </a:lnTo>
                      <a:lnTo>
                        <a:pt x="24129" y="82637"/>
                      </a:lnTo>
                      <a:lnTo>
                        <a:pt x="21974" y="81538"/>
                      </a:lnTo>
                      <a:lnTo>
                        <a:pt x="19820" y="80659"/>
                      </a:lnTo>
                      <a:lnTo>
                        <a:pt x="18096" y="80659"/>
                      </a:lnTo>
                      <a:lnTo>
                        <a:pt x="17450" y="77362"/>
                      </a:lnTo>
                      <a:lnTo>
                        <a:pt x="19174" y="74505"/>
                      </a:lnTo>
                      <a:lnTo>
                        <a:pt x="22405" y="70769"/>
                      </a:lnTo>
                      <a:lnTo>
                        <a:pt x="22836" y="68351"/>
                      </a:lnTo>
                      <a:lnTo>
                        <a:pt x="26068" y="67692"/>
                      </a:lnTo>
                      <a:lnTo>
                        <a:pt x="32100" y="69230"/>
                      </a:lnTo>
                      <a:lnTo>
                        <a:pt x="35763" y="70769"/>
                      </a:lnTo>
                      <a:lnTo>
                        <a:pt x="38779" y="70989"/>
                      </a:lnTo>
                      <a:lnTo>
                        <a:pt x="42441" y="69230"/>
                      </a:lnTo>
                      <a:lnTo>
                        <a:pt x="37701" y="68351"/>
                      </a:lnTo>
                      <a:lnTo>
                        <a:pt x="34254" y="66813"/>
                      </a:lnTo>
                      <a:lnTo>
                        <a:pt x="30807" y="65934"/>
                      </a:lnTo>
                      <a:cubicBezTo>
                        <a:pt x="29299" y="65164"/>
                        <a:pt x="27791" y="64615"/>
                        <a:pt x="26068" y="64615"/>
                      </a:cubicBezTo>
                      <a:lnTo>
                        <a:pt x="20897" y="65934"/>
                      </a:lnTo>
                      <a:lnTo>
                        <a:pt x="18743" y="70109"/>
                      </a:lnTo>
                      <a:lnTo>
                        <a:pt x="16588" y="72527"/>
                      </a:lnTo>
                      <a:lnTo>
                        <a:pt x="14003" y="76043"/>
                      </a:lnTo>
                      <a:lnTo>
                        <a:pt x="13141" y="79120"/>
                      </a:lnTo>
                      <a:lnTo>
                        <a:pt x="11633" y="79340"/>
                      </a:lnTo>
                      <a:lnTo>
                        <a:pt x="10125" y="76923"/>
                      </a:lnTo>
                      <a:lnTo>
                        <a:pt x="6463" y="73406"/>
                      </a:lnTo>
                      <a:lnTo>
                        <a:pt x="1077" y="71208"/>
                      </a:lnTo>
                      <a:lnTo>
                        <a:pt x="0" y="6945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72000" tIns="45700" rIns="91425" bIns="45700" anchor="ctr" anchorCtr="0">
                  <a:noAutofit/>
                </a:bodyPr>
                <a:lstStyle/>
                <a:p>
                  <a:pPr marL="0" marR="0" lvl="0" indent="26670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8" name="Shape 902"/>
                <p:cNvSpPr/>
                <p:nvPr/>
              </p:nvSpPr>
              <p:spPr>
                <a:xfrm>
                  <a:off x="2383439" y="2884965"/>
                  <a:ext cx="1016418" cy="4575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108" y="110982"/>
                      </a:moveTo>
                      <a:lnTo>
                        <a:pt x="2270" y="103352"/>
                      </a:lnTo>
                      <a:lnTo>
                        <a:pt x="0" y="95028"/>
                      </a:lnTo>
                      <a:lnTo>
                        <a:pt x="3243" y="80462"/>
                      </a:lnTo>
                      <a:lnTo>
                        <a:pt x="5837" y="67283"/>
                      </a:lnTo>
                      <a:lnTo>
                        <a:pt x="6810" y="57572"/>
                      </a:lnTo>
                      <a:lnTo>
                        <a:pt x="4864" y="47861"/>
                      </a:lnTo>
                      <a:lnTo>
                        <a:pt x="2270" y="39537"/>
                      </a:lnTo>
                      <a:lnTo>
                        <a:pt x="1945" y="30520"/>
                      </a:lnTo>
                      <a:lnTo>
                        <a:pt x="7135" y="27745"/>
                      </a:lnTo>
                      <a:lnTo>
                        <a:pt x="14918" y="19421"/>
                      </a:lnTo>
                      <a:lnTo>
                        <a:pt x="21729" y="7630"/>
                      </a:lnTo>
                      <a:lnTo>
                        <a:pt x="32756" y="2774"/>
                      </a:lnTo>
                      <a:lnTo>
                        <a:pt x="43135" y="0"/>
                      </a:lnTo>
                      <a:lnTo>
                        <a:pt x="58054" y="7630"/>
                      </a:lnTo>
                      <a:lnTo>
                        <a:pt x="66810" y="12485"/>
                      </a:lnTo>
                      <a:lnTo>
                        <a:pt x="75891" y="11791"/>
                      </a:lnTo>
                      <a:lnTo>
                        <a:pt x="86918" y="16647"/>
                      </a:lnTo>
                      <a:lnTo>
                        <a:pt x="105081" y="19421"/>
                      </a:lnTo>
                      <a:lnTo>
                        <a:pt x="120000" y="26358"/>
                      </a:lnTo>
                      <a:lnTo>
                        <a:pt x="118054" y="41618"/>
                      </a:lnTo>
                      <a:lnTo>
                        <a:pt x="113189" y="69364"/>
                      </a:lnTo>
                      <a:lnTo>
                        <a:pt x="109945" y="90867"/>
                      </a:lnTo>
                      <a:lnTo>
                        <a:pt x="102810" y="106820"/>
                      </a:lnTo>
                      <a:lnTo>
                        <a:pt x="92756" y="117919"/>
                      </a:lnTo>
                      <a:lnTo>
                        <a:pt x="83351" y="120000"/>
                      </a:lnTo>
                      <a:lnTo>
                        <a:pt x="66486" y="118612"/>
                      </a:lnTo>
                      <a:lnTo>
                        <a:pt x="52864" y="113757"/>
                      </a:lnTo>
                      <a:lnTo>
                        <a:pt x="38594" y="109595"/>
                      </a:lnTo>
                      <a:lnTo>
                        <a:pt x="28216" y="106820"/>
                      </a:lnTo>
                      <a:lnTo>
                        <a:pt x="20756" y="105433"/>
                      </a:lnTo>
                      <a:lnTo>
                        <a:pt x="13945" y="106820"/>
                      </a:lnTo>
                      <a:lnTo>
                        <a:pt x="8108" y="110982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59" name="Shape 903"/>
                <p:cNvSpPr/>
                <p:nvPr/>
              </p:nvSpPr>
              <p:spPr>
                <a:xfrm>
                  <a:off x="1897206" y="2324240"/>
                  <a:ext cx="1126298" cy="147323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61463" y="0"/>
                      </a:moveTo>
                      <a:lnTo>
                        <a:pt x="53853" y="4739"/>
                      </a:lnTo>
                      <a:lnTo>
                        <a:pt x="47121" y="11202"/>
                      </a:lnTo>
                      <a:lnTo>
                        <a:pt x="42146" y="16373"/>
                      </a:lnTo>
                      <a:lnTo>
                        <a:pt x="38341" y="22621"/>
                      </a:lnTo>
                      <a:lnTo>
                        <a:pt x="36585" y="26929"/>
                      </a:lnTo>
                      <a:lnTo>
                        <a:pt x="33658" y="29084"/>
                      </a:lnTo>
                      <a:lnTo>
                        <a:pt x="28390" y="31454"/>
                      </a:lnTo>
                      <a:lnTo>
                        <a:pt x="26341" y="33393"/>
                      </a:lnTo>
                      <a:lnTo>
                        <a:pt x="21365" y="36193"/>
                      </a:lnTo>
                      <a:lnTo>
                        <a:pt x="18439" y="38563"/>
                      </a:lnTo>
                      <a:lnTo>
                        <a:pt x="17560" y="40718"/>
                      </a:lnTo>
                      <a:lnTo>
                        <a:pt x="11707" y="42657"/>
                      </a:lnTo>
                      <a:lnTo>
                        <a:pt x="4390" y="47181"/>
                      </a:lnTo>
                      <a:lnTo>
                        <a:pt x="0" y="51274"/>
                      </a:lnTo>
                      <a:lnTo>
                        <a:pt x="3219" y="54075"/>
                      </a:lnTo>
                      <a:lnTo>
                        <a:pt x="8487" y="58384"/>
                      </a:lnTo>
                      <a:lnTo>
                        <a:pt x="12000" y="63554"/>
                      </a:lnTo>
                      <a:lnTo>
                        <a:pt x="13170" y="70879"/>
                      </a:lnTo>
                      <a:lnTo>
                        <a:pt x="13170" y="77342"/>
                      </a:lnTo>
                      <a:lnTo>
                        <a:pt x="9658" y="83590"/>
                      </a:lnTo>
                      <a:lnTo>
                        <a:pt x="6146" y="87253"/>
                      </a:lnTo>
                      <a:lnTo>
                        <a:pt x="8780" y="89838"/>
                      </a:lnTo>
                      <a:lnTo>
                        <a:pt x="13463" y="91777"/>
                      </a:lnTo>
                      <a:lnTo>
                        <a:pt x="19317" y="93931"/>
                      </a:lnTo>
                      <a:lnTo>
                        <a:pt x="21951" y="98456"/>
                      </a:lnTo>
                      <a:lnTo>
                        <a:pt x="23707" y="108366"/>
                      </a:lnTo>
                      <a:lnTo>
                        <a:pt x="26634" y="111382"/>
                      </a:lnTo>
                      <a:lnTo>
                        <a:pt x="31024" y="120000"/>
                      </a:lnTo>
                      <a:lnTo>
                        <a:pt x="34829" y="118707"/>
                      </a:lnTo>
                      <a:lnTo>
                        <a:pt x="39512" y="117414"/>
                      </a:lnTo>
                      <a:lnTo>
                        <a:pt x="41268" y="113321"/>
                      </a:lnTo>
                      <a:lnTo>
                        <a:pt x="39512" y="107935"/>
                      </a:lnTo>
                      <a:lnTo>
                        <a:pt x="41560" y="100610"/>
                      </a:lnTo>
                      <a:lnTo>
                        <a:pt x="44487" y="92208"/>
                      </a:lnTo>
                      <a:lnTo>
                        <a:pt x="47414" y="88761"/>
                      </a:lnTo>
                      <a:lnTo>
                        <a:pt x="56195" y="83375"/>
                      </a:lnTo>
                      <a:lnTo>
                        <a:pt x="60000" y="80359"/>
                      </a:lnTo>
                      <a:lnTo>
                        <a:pt x="55902" y="77989"/>
                      </a:lnTo>
                      <a:lnTo>
                        <a:pt x="52390" y="76481"/>
                      </a:lnTo>
                      <a:lnTo>
                        <a:pt x="52097" y="74111"/>
                      </a:lnTo>
                      <a:lnTo>
                        <a:pt x="54146" y="71095"/>
                      </a:lnTo>
                      <a:lnTo>
                        <a:pt x="57365" y="67432"/>
                      </a:lnTo>
                      <a:lnTo>
                        <a:pt x="57658" y="63123"/>
                      </a:lnTo>
                      <a:lnTo>
                        <a:pt x="55024" y="58815"/>
                      </a:lnTo>
                      <a:lnTo>
                        <a:pt x="52975" y="54937"/>
                      </a:lnTo>
                      <a:lnTo>
                        <a:pt x="57365" y="54290"/>
                      </a:lnTo>
                      <a:lnTo>
                        <a:pt x="65268" y="51059"/>
                      </a:lnTo>
                      <a:lnTo>
                        <a:pt x="71121" y="47827"/>
                      </a:lnTo>
                      <a:lnTo>
                        <a:pt x="84292" y="46104"/>
                      </a:lnTo>
                      <a:lnTo>
                        <a:pt x="90731" y="45673"/>
                      </a:lnTo>
                      <a:lnTo>
                        <a:pt x="99219" y="47396"/>
                      </a:lnTo>
                      <a:lnTo>
                        <a:pt x="112097" y="49120"/>
                      </a:lnTo>
                      <a:lnTo>
                        <a:pt x="120000" y="49120"/>
                      </a:lnTo>
                      <a:lnTo>
                        <a:pt x="118829" y="43518"/>
                      </a:lnTo>
                      <a:lnTo>
                        <a:pt x="119414" y="31023"/>
                      </a:lnTo>
                      <a:lnTo>
                        <a:pt x="113268" y="27576"/>
                      </a:lnTo>
                      <a:lnTo>
                        <a:pt x="102439" y="22405"/>
                      </a:lnTo>
                      <a:lnTo>
                        <a:pt x="97170" y="13141"/>
                      </a:lnTo>
                      <a:lnTo>
                        <a:pt x="92780" y="15511"/>
                      </a:lnTo>
                      <a:lnTo>
                        <a:pt x="88390" y="18096"/>
                      </a:lnTo>
                      <a:lnTo>
                        <a:pt x="84292" y="20682"/>
                      </a:lnTo>
                      <a:lnTo>
                        <a:pt x="81658" y="22621"/>
                      </a:lnTo>
                      <a:lnTo>
                        <a:pt x="78731" y="24775"/>
                      </a:lnTo>
                      <a:lnTo>
                        <a:pt x="70536" y="30161"/>
                      </a:lnTo>
                      <a:lnTo>
                        <a:pt x="62634" y="27145"/>
                      </a:lnTo>
                      <a:lnTo>
                        <a:pt x="56487" y="24775"/>
                      </a:lnTo>
                      <a:lnTo>
                        <a:pt x="51804" y="21328"/>
                      </a:lnTo>
                      <a:lnTo>
                        <a:pt x="51804" y="18743"/>
                      </a:lnTo>
                      <a:lnTo>
                        <a:pt x="59414" y="11418"/>
                      </a:lnTo>
                      <a:lnTo>
                        <a:pt x="63219" y="5385"/>
                      </a:lnTo>
                      <a:lnTo>
                        <a:pt x="61463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144000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60" name="Shape 904"/>
                <p:cNvSpPr/>
                <p:nvPr/>
              </p:nvSpPr>
              <p:spPr>
                <a:xfrm>
                  <a:off x="1537340" y="2956376"/>
                  <a:ext cx="486235" cy="44435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000" h="120000" extrusionOk="0">
                      <a:moveTo>
                        <a:pt x="86779" y="0"/>
                      </a:moveTo>
                      <a:lnTo>
                        <a:pt x="63728" y="10714"/>
                      </a:lnTo>
                      <a:lnTo>
                        <a:pt x="47457" y="22142"/>
                      </a:lnTo>
                      <a:lnTo>
                        <a:pt x="36610" y="33571"/>
                      </a:lnTo>
                      <a:lnTo>
                        <a:pt x="17627" y="36428"/>
                      </a:lnTo>
                      <a:lnTo>
                        <a:pt x="3389" y="38571"/>
                      </a:lnTo>
                      <a:lnTo>
                        <a:pt x="0" y="47142"/>
                      </a:lnTo>
                      <a:lnTo>
                        <a:pt x="23050" y="74285"/>
                      </a:lnTo>
                      <a:lnTo>
                        <a:pt x="30508" y="75000"/>
                      </a:lnTo>
                      <a:lnTo>
                        <a:pt x="40000" y="55714"/>
                      </a:lnTo>
                      <a:lnTo>
                        <a:pt x="42033" y="46428"/>
                      </a:lnTo>
                      <a:lnTo>
                        <a:pt x="65762" y="55714"/>
                      </a:lnTo>
                      <a:lnTo>
                        <a:pt x="77966" y="61428"/>
                      </a:lnTo>
                      <a:lnTo>
                        <a:pt x="84067" y="75000"/>
                      </a:lnTo>
                      <a:lnTo>
                        <a:pt x="87457" y="95714"/>
                      </a:lnTo>
                      <a:lnTo>
                        <a:pt x="98305" y="114285"/>
                      </a:lnTo>
                      <a:lnTo>
                        <a:pt x="103050" y="120000"/>
                      </a:lnTo>
                      <a:lnTo>
                        <a:pt x="111186" y="105000"/>
                      </a:lnTo>
                      <a:lnTo>
                        <a:pt x="119999" y="86428"/>
                      </a:lnTo>
                      <a:lnTo>
                        <a:pt x="119999" y="55714"/>
                      </a:lnTo>
                      <a:lnTo>
                        <a:pt x="113220" y="27857"/>
                      </a:lnTo>
                      <a:lnTo>
                        <a:pt x="96271" y="5714"/>
                      </a:lnTo>
                      <a:lnTo>
                        <a:pt x="86779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19050" cap="flat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799" dist="38100" dir="2700000" algn="tl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91425" tIns="45700" rIns="91425" bIns="45700" anchor="ctr" anchorCtr="1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  <p:grpSp>
            <p:nvGrpSpPr>
              <p:cNvPr id="44" name="Shape 905"/>
              <p:cNvGrpSpPr/>
              <p:nvPr/>
            </p:nvGrpSpPr>
            <p:grpSpPr>
              <a:xfrm>
                <a:off x="6005446" y="4893467"/>
                <a:ext cx="252231" cy="252231"/>
                <a:chOff x="250825" y="3464287"/>
                <a:chExt cx="504462" cy="504462"/>
              </a:xfrm>
            </p:grpSpPr>
            <p:sp>
              <p:nvSpPr>
                <p:cNvPr id="45" name="Shape 906"/>
                <p:cNvSpPr/>
                <p:nvPr/>
              </p:nvSpPr>
              <p:spPr>
                <a:xfrm>
                  <a:off x="250825" y="3464287"/>
                  <a:ext cx="504462" cy="504462"/>
                </a:xfrm>
                <a:prstGeom prst="ellipse">
                  <a:avLst/>
                </a:prstGeom>
                <a:solidFill>
                  <a:srgbClr val="F0B270"/>
                </a:solidFill>
                <a:ln>
                  <a:noFill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  <p:sp>
              <p:nvSpPr>
                <p:cNvPr id="46" name="Shape 907"/>
                <p:cNvSpPr/>
                <p:nvPr/>
              </p:nvSpPr>
              <p:spPr>
                <a:xfrm>
                  <a:off x="376312" y="3589776"/>
                  <a:ext cx="253486" cy="253486"/>
                </a:xfrm>
                <a:prstGeom prst="ellipse">
                  <a:avLst/>
                </a:prstGeom>
                <a:solidFill>
                  <a:srgbClr val="F0B270"/>
                </a:solidFill>
                <a:ln w="15875" cap="rnd" cmpd="sng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buNone/>
                  </a:pPr>
                  <a:endParaRPr sz="1800">
                    <a:solidFill>
                      <a:schemeClr val="lt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endParaRPr>
                </a:p>
              </p:txBody>
            </p:sp>
          </p:grpSp>
        </p:grpSp>
        <p:sp>
          <p:nvSpPr>
            <p:cNvPr id="42" name="Shape 908"/>
            <p:cNvSpPr txBox="1"/>
            <p:nvPr/>
          </p:nvSpPr>
          <p:spPr>
            <a:xfrm>
              <a:off x="6367750" y="4997800"/>
              <a:ext cx="1633558" cy="433802"/>
            </a:xfrm>
            <a:prstGeom prst="rect">
              <a:avLst/>
            </a:prstGeom>
            <a:solidFill>
              <a:srgbClr val="F0B27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fr-CA" sz="1200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Kédougou</a:t>
              </a:r>
            </a:p>
          </p:txBody>
        </p:sp>
      </p:grpSp>
      <p:pic>
        <p:nvPicPr>
          <p:cNvPr id="61" name="Shape 806"/>
          <p:cNvPicPr preferRelativeResize="0"/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21881" y="-30392"/>
            <a:ext cx="1030643" cy="760713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Image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1119" y="5277991"/>
            <a:ext cx="1277832" cy="842286"/>
          </a:xfrm>
          <a:prstGeom prst="rect">
            <a:avLst/>
          </a:prstGeom>
        </p:spPr>
      </p:pic>
      <p:pic>
        <p:nvPicPr>
          <p:cNvPr id="63" name="Image 6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140" y="5277991"/>
            <a:ext cx="1163518" cy="842286"/>
          </a:xfrm>
          <a:prstGeom prst="rect">
            <a:avLst/>
          </a:prstGeom>
        </p:spPr>
      </p:pic>
      <p:pic>
        <p:nvPicPr>
          <p:cNvPr id="64" name="Image 6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174093" y="5348475"/>
            <a:ext cx="1131818" cy="7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49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40082" y="5322464"/>
            <a:ext cx="5128528" cy="1498931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fr-CA" sz="2000" b="1" dirty="0" smtClean="0">
                <a:latin typeface="Century Gothic" panose="020B0502020202020204" pitchFamily="34" charset="0"/>
              </a:rPr>
              <a:t>Pistes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CA" sz="2000" b="1" dirty="0" smtClean="0">
                <a:latin typeface="Century Gothic" panose="020B0502020202020204" pitchFamily="34" charset="0"/>
              </a:rPr>
              <a:t>Voiries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CA" sz="2000" b="1" dirty="0" smtClean="0">
                <a:latin typeface="Century Gothic" panose="020B0502020202020204" pitchFamily="34" charset="0"/>
              </a:rPr>
              <a:t>Aires </a:t>
            </a:r>
            <a:r>
              <a:rPr lang="fr-CA" sz="2000" b="1" dirty="0">
                <a:latin typeface="Century Gothic" panose="020B0502020202020204" pitchFamily="34" charset="0"/>
              </a:rPr>
              <a:t>de stationnement</a:t>
            </a:r>
          </a:p>
        </p:txBody>
      </p:sp>
      <p:grpSp>
        <p:nvGrpSpPr>
          <p:cNvPr id="19" name="Groupe 18"/>
          <p:cNvGrpSpPr/>
          <p:nvPr/>
        </p:nvGrpSpPr>
        <p:grpSpPr>
          <a:xfrm>
            <a:off x="4952031" y="847041"/>
            <a:ext cx="6926303" cy="5477676"/>
            <a:chOff x="200866" y="1088797"/>
            <a:chExt cx="6926303" cy="5477676"/>
          </a:xfrm>
        </p:grpSpPr>
        <p:grpSp>
          <p:nvGrpSpPr>
            <p:cNvPr id="50" name="Group 26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gray">
            <a:xfrm>
              <a:off x="661565" y="1211849"/>
              <a:ext cx="6465604" cy="5127995"/>
              <a:chOff x="1537340" y="1223262"/>
              <a:chExt cx="5973635" cy="4486513"/>
            </a:xfrm>
            <a:solidFill>
              <a:schemeClr val="bg1">
                <a:lumMod val="5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3" name="Freeform 27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2614939" y="1223262"/>
                <a:ext cx="2692139" cy="952182"/>
              </a:xfrm>
              <a:custGeom>
                <a:avLst/>
                <a:gdLst>
                  <a:gd name="T0" fmla="*/ 160 w 1960"/>
                  <a:gd name="T1" fmla="*/ 620 h 720"/>
                  <a:gd name="T2" fmla="*/ 288 w 1960"/>
                  <a:gd name="T3" fmla="*/ 536 h 720"/>
                  <a:gd name="T4" fmla="*/ 408 w 1960"/>
                  <a:gd name="T5" fmla="*/ 408 h 720"/>
                  <a:gd name="T6" fmla="*/ 568 w 1960"/>
                  <a:gd name="T7" fmla="*/ 368 h 720"/>
                  <a:gd name="T8" fmla="*/ 688 w 1960"/>
                  <a:gd name="T9" fmla="*/ 468 h 720"/>
                  <a:gd name="T10" fmla="*/ 912 w 1960"/>
                  <a:gd name="T11" fmla="*/ 456 h 720"/>
                  <a:gd name="T12" fmla="*/ 1228 w 1960"/>
                  <a:gd name="T13" fmla="*/ 480 h 720"/>
                  <a:gd name="T14" fmla="*/ 1412 w 1960"/>
                  <a:gd name="T15" fmla="*/ 504 h 720"/>
                  <a:gd name="T16" fmla="*/ 1480 w 1960"/>
                  <a:gd name="T17" fmla="*/ 720 h 720"/>
                  <a:gd name="T18" fmla="*/ 1960 w 1960"/>
                  <a:gd name="T19" fmla="*/ 368 h 720"/>
                  <a:gd name="T20" fmla="*/ 1880 w 1960"/>
                  <a:gd name="T21" fmla="*/ 312 h 720"/>
                  <a:gd name="T22" fmla="*/ 1836 w 1960"/>
                  <a:gd name="T23" fmla="*/ 248 h 720"/>
                  <a:gd name="T24" fmla="*/ 1716 w 1960"/>
                  <a:gd name="T25" fmla="*/ 148 h 720"/>
                  <a:gd name="T26" fmla="*/ 1668 w 1960"/>
                  <a:gd name="T27" fmla="*/ 96 h 720"/>
                  <a:gd name="T28" fmla="*/ 1616 w 1960"/>
                  <a:gd name="T29" fmla="*/ 80 h 720"/>
                  <a:gd name="T30" fmla="*/ 1500 w 1960"/>
                  <a:gd name="T31" fmla="*/ 52 h 720"/>
                  <a:gd name="T32" fmla="*/ 1344 w 1960"/>
                  <a:gd name="T33" fmla="*/ 48 h 720"/>
                  <a:gd name="T34" fmla="*/ 1168 w 1960"/>
                  <a:gd name="T35" fmla="*/ 8 h 720"/>
                  <a:gd name="T36" fmla="*/ 1112 w 1960"/>
                  <a:gd name="T37" fmla="*/ 32 h 720"/>
                  <a:gd name="T38" fmla="*/ 1044 w 1960"/>
                  <a:gd name="T39" fmla="*/ 68 h 720"/>
                  <a:gd name="T40" fmla="*/ 948 w 1960"/>
                  <a:gd name="T41" fmla="*/ 60 h 720"/>
                  <a:gd name="T42" fmla="*/ 840 w 1960"/>
                  <a:gd name="T43" fmla="*/ 108 h 720"/>
                  <a:gd name="T44" fmla="*/ 756 w 1960"/>
                  <a:gd name="T45" fmla="*/ 80 h 720"/>
                  <a:gd name="T46" fmla="*/ 648 w 1960"/>
                  <a:gd name="T47" fmla="*/ 140 h 720"/>
                  <a:gd name="T48" fmla="*/ 536 w 1960"/>
                  <a:gd name="T49" fmla="*/ 108 h 720"/>
                  <a:gd name="T50" fmla="*/ 460 w 1960"/>
                  <a:gd name="T51" fmla="*/ 104 h 720"/>
                  <a:gd name="T52" fmla="*/ 404 w 1960"/>
                  <a:gd name="T53" fmla="*/ 96 h 720"/>
                  <a:gd name="T54" fmla="*/ 332 w 1960"/>
                  <a:gd name="T55" fmla="*/ 72 h 720"/>
                  <a:gd name="T56" fmla="*/ 256 w 1960"/>
                  <a:gd name="T57" fmla="*/ 96 h 720"/>
                  <a:gd name="T58" fmla="*/ 200 w 1960"/>
                  <a:gd name="T59" fmla="*/ 196 h 720"/>
                  <a:gd name="T60" fmla="*/ 120 w 1960"/>
                  <a:gd name="T61" fmla="*/ 260 h 720"/>
                  <a:gd name="T62" fmla="*/ 116 w 1960"/>
                  <a:gd name="T63" fmla="*/ 344 h 720"/>
                  <a:gd name="T64" fmla="*/ 56 w 1960"/>
                  <a:gd name="T65" fmla="*/ 392 h 720"/>
                  <a:gd name="T66" fmla="*/ 0 w 1960"/>
                  <a:gd name="T67" fmla="*/ 444 h 720"/>
                  <a:gd name="T68" fmla="*/ 32 w 1960"/>
                  <a:gd name="T69" fmla="*/ 480 h 720"/>
                  <a:gd name="T70" fmla="*/ 52 w 1960"/>
                  <a:gd name="T71" fmla="*/ 508 h 720"/>
                  <a:gd name="T72" fmla="*/ 40 w 1960"/>
                  <a:gd name="T73" fmla="*/ 564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60" h="720">
                    <a:moveTo>
                      <a:pt x="28" y="612"/>
                    </a:moveTo>
                    <a:lnTo>
                      <a:pt x="160" y="620"/>
                    </a:lnTo>
                    <a:lnTo>
                      <a:pt x="228" y="616"/>
                    </a:lnTo>
                    <a:lnTo>
                      <a:pt x="288" y="536"/>
                    </a:lnTo>
                    <a:lnTo>
                      <a:pt x="352" y="488"/>
                    </a:lnTo>
                    <a:lnTo>
                      <a:pt x="408" y="408"/>
                    </a:lnTo>
                    <a:lnTo>
                      <a:pt x="492" y="372"/>
                    </a:lnTo>
                    <a:lnTo>
                      <a:pt x="568" y="368"/>
                    </a:lnTo>
                    <a:lnTo>
                      <a:pt x="600" y="348"/>
                    </a:lnTo>
                    <a:lnTo>
                      <a:pt x="688" y="468"/>
                    </a:lnTo>
                    <a:lnTo>
                      <a:pt x="712" y="484"/>
                    </a:lnTo>
                    <a:lnTo>
                      <a:pt x="912" y="456"/>
                    </a:lnTo>
                    <a:lnTo>
                      <a:pt x="1116" y="460"/>
                    </a:lnTo>
                    <a:lnTo>
                      <a:pt x="1228" y="480"/>
                    </a:lnTo>
                    <a:lnTo>
                      <a:pt x="1284" y="524"/>
                    </a:lnTo>
                    <a:lnTo>
                      <a:pt x="1412" y="504"/>
                    </a:lnTo>
                    <a:lnTo>
                      <a:pt x="1452" y="556"/>
                    </a:lnTo>
                    <a:lnTo>
                      <a:pt x="1480" y="720"/>
                    </a:lnTo>
                    <a:lnTo>
                      <a:pt x="1780" y="488"/>
                    </a:lnTo>
                    <a:lnTo>
                      <a:pt x="1960" y="368"/>
                    </a:lnTo>
                    <a:lnTo>
                      <a:pt x="1924" y="300"/>
                    </a:lnTo>
                    <a:lnTo>
                      <a:pt x="1880" y="312"/>
                    </a:lnTo>
                    <a:lnTo>
                      <a:pt x="1832" y="292"/>
                    </a:lnTo>
                    <a:lnTo>
                      <a:pt x="1836" y="248"/>
                    </a:lnTo>
                    <a:lnTo>
                      <a:pt x="1796" y="208"/>
                    </a:lnTo>
                    <a:lnTo>
                      <a:pt x="1716" y="148"/>
                    </a:lnTo>
                    <a:lnTo>
                      <a:pt x="1692" y="132"/>
                    </a:lnTo>
                    <a:lnTo>
                      <a:pt x="1668" y="96"/>
                    </a:lnTo>
                    <a:lnTo>
                      <a:pt x="1644" y="120"/>
                    </a:lnTo>
                    <a:lnTo>
                      <a:pt x="1616" y="80"/>
                    </a:lnTo>
                    <a:lnTo>
                      <a:pt x="1576" y="76"/>
                    </a:lnTo>
                    <a:lnTo>
                      <a:pt x="1500" y="52"/>
                    </a:lnTo>
                    <a:lnTo>
                      <a:pt x="1456" y="64"/>
                    </a:lnTo>
                    <a:lnTo>
                      <a:pt x="1344" y="48"/>
                    </a:lnTo>
                    <a:lnTo>
                      <a:pt x="1216" y="24"/>
                    </a:lnTo>
                    <a:lnTo>
                      <a:pt x="1168" y="8"/>
                    </a:lnTo>
                    <a:lnTo>
                      <a:pt x="1132" y="0"/>
                    </a:lnTo>
                    <a:lnTo>
                      <a:pt x="1112" y="32"/>
                    </a:lnTo>
                    <a:lnTo>
                      <a:pt x="1044" y="36"/>
                    </a:lnTo>
                    <a:lnTo>
                      <a:pt x="1044" y="68"/>
                    </a:lnTo>
                    <a:lnTo>
                      <a:pt x="1012" y="60"/>
                    </a:lnTo>
                    <a:lnTo>
                      <a:pt x="948" y="60"/>
                    </a:lnTo>
                    <a:lnTo>
                      <a:pt x="912" y="68"/>
                    </a:lnTo>
                    <a:lnTo>
                      <a:pt x="840" y="108"/>
                    </a:lnTo>
                    <a:lnTo>
                      <a:pt x="792" y="80"/>
                    </a:lnTo>
                    <a:lnTo>
                      <a:pt x="756" y="80"/>
                    </a:lnTo>
                    <a:lnTo>
                      <a:pt x="692" y="108"/>
                    </a:lnTo>
                    <a:lnTo>
                      <a:pt x="648" y="140"/>
                    </a:lnTo>
                    <a:lnTo>
                      <a:pt x="580" y="120"/>
                    </a:lnTo>
                    <a:lnTo>
                      <a:pt x="536" y="108"/>
                    </a:lnTo>
                    <a:lnTo>
                      <a:pt x="504" y="108"/>
                    </a:lnTo>
                    <a:lnTo>
                      <a:pt x="460" y="104"/>
                    </a:lnTo>
                    <a:lnTo>
                      <a:pt x="420" y="116"/>
                    </a:lnTo>
                    <a:lnTo>
                      <a:pt x="404" y="96"/>
                    </a:lnTo>
                    <a:lnTo>
                      <a:pt x="392" y="60"/>
                    </a:lnTo>
                    <a:lnTo>
                      <a:pt x="332" y="72"/>
                    </a:lnTo>
                    <a:lnTo>
                      <a:pt x="300" y="80"/>
                    </a:lnTo>
                    <a:lnTo>
                      <a:pt x="256" y="96"/>
                    </a:lnTo>
                    <a:lnTo>
                      <a:pt x="256" y="132"/>
                    </a:lnTo>
                    <a:lnTo>
                      <a:pt x="200" y="196"/>
                    </a:lnTo>
                    <a:lnTo>
                      <a:pt x="168" y="232"/>
                    </a:lnTo>
                    <a:lnTo>
                      <a:pt x="120" y="260"/>
                    </a:lnTo>
                    <a:lnTo>
                      <a:pt x="116" y="300"/>
                    </a:lnTo>
                    <a:lnTo>
                      <a:pt x="116" y="344"/>
                    </a:lnTo>
                    <a:lnTo>
                      <a:pt x="100" y="368"/>
                    </a:lnTo>
                    <a:lnTo>
                      <a:pt x="56" y="392"/>
                    </a:lnTo>
                    <a:lnTo>
                      <a:pt x="24" y="412"/>
                    </a:lnTo>
                    <a:lnTo>
                      <a:pt x="0" y="444"/>
                    </a:lnTo>
                    <a:lnTo>
                      <a:pt x="4" y="532"/>
                    </a:lnTo>
                    <a:lnTo>
                      <a:pt x="32" y="480"/>
                    </a:lnTo>
                    <a:lnTo>
                      <a:pt x="52" y="448"/>
                    </a:lnTo>
                    <a:lnTo>
                      <a:pt x="52" y="508"/>
                    </a:lnTo>
                    <a:lnTo>
                      <a:pt x="28" y="528"/>
                    </a:lnTo>
                    <a:lnTo>
                      <a:pt x="40" y="564"/>
                    </a:lnTo>
                    <a:lnTo>
                      <a:pt x="28" y="612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tIns="0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28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2372451" y="1668290"/>
                <a:ext cx="2477862" cy="1608126"/>
              </a:xfrm>
              <a:custGeom>
                <a:avLst/>
                <a:gdLst>
                  <a:gd name="T0" fmla="*/ 124 w 1804"/>
                  <a:gd name="T1" fmla="*/ 416 h 1216"/>
                  <a:gd name="T2" fmla="*/ 204 w 1804"/>
                  <a:gd name="T3" fmla="*/ 260 h 1216"/>
                  <a:gd name="T4" fmla="*/ 452 w 1804"/>
                  <a:gd name="T5" fmla="*/ 208 h 1216"/>
                  <a:gd name="T6" fmla="*/ 588 w 1804"/>
                  <a:gd name="T7" fmla="*/ 76 h 1216"/>
                  <a:gd name="T8" fmla="*/ 724 w 1804"/>
                  <a:gd name="T9" fmla="*/ 24 h 1216"/>
                  <a:gd name="T10" fmla="*/ 868 w 1804"/>
                  <a:gd name="T11" fmla="*/ 116 h 1216"/>
                  <a:gd name="T12" fmla="*/ 1164 w 1804"/>
                  <a:gd name="T13" fmla="*/ 100 h 1216"/>
                  <a:gd name="T14" fmla="*/ 1464 w 1804"/>
                  <a:gd name="T15" fmla="*/ 176 h 1216"/>
                  <a:gd name="T16" fmla="*/ 1628 w 1804"/>
                  <a:gd name="T17" fmla="*/ 192 h 1216"/>
                  <a:gd name="T18" fmla="*/ 1672 w 1804"/>
                  <a:gd name="T19" fmla="*/ 488 h 1216"/>
                  <a:gd name="T20" fmla="*/ 1592 w 1804"/>
                  <a:gd name="T21" fmla="*/ 568 h 1216"/>
                  <a:gd name="T22" fmla="*/ 1536 w 1804"/>
                  <a:gd name="T23" fmla="*/ 800 h 1216"/>
                  <a:gd name="T24" fmla="*/ 1624 w 1804"/>
                  <a:gd name="T25" fmla="*/ 852 h 1216"/>
                  <a:gd name="T26" fmla="*/ 1776 w 1804"/>
                  <a:gd name="T27" fmla="*/ 952 h 1216"/>
                  <a:gd name="T28" fmla="*/ 1728 w 1804"/>
                  <a:gd name="T29" fmla="*/ 1068 h 1216"/>
                  <a:gd name="T30" fmla="*/ 1612 w 1804"/>
                  <a:gd name="T31" fmla="*/ 1200 h 1216"/>
                  <a:gd name="T32" fmla="*/ 1532 w 1804"/>
                  <a:gd name="T33" fmla="*/ 1188 h 1216"/>
                  <a:gd name="T34" fmla="*/ 1388 w 1804"/>
                  <a:gd name="T35" fmla="*/ 1160 h 1216"/>
                  <a:gd name="T36" fmla="*/ 1268 w 1804"/>
                  <a:gd name="T37" fmla="*/ 1112 h 1216"/>
                  <a:gd name="T38" fmla="*/ 1212 w 1804"/>
                  <a:gd name="T39" fmla="*/ 1096 h 1216"/>
                  <a:gd name="T40" fmla="*/ 1096 w 1804"/>
                  <a:gd name="T41" fmla="*/ 1188 h 1216"/>
                  <a:gd name="T42" fmla="*/ 936 w 1804"/>
                  <a:gd name="T43" fmla="*/ 1080 h 1216"/>
                  <a:gd name="T44" fmla="*/ 924 w 1804"/>
                  <a:gd name="T45" fmla="*/ 996 h 1216"/>
                  <a:gd name="T46" fmla="*/ 864 w 1804"/>
                  <a:gd name="T47" fmla="*/ 1008 h 1216"/>
                  <a:gd name="T48" fmla="*/ 784 w 1804"/>
                  <a:gd name="T49" fmla="*/ 976 h 1216"/>
                  <a:gd name="T50" fmla="*/ 672 w 1804"/>
                  <a:gd name="T51" fmla="*/ 980 h 1216"/>
                  <a:gd name="T52" fmla="*/ 472 w 1804"/>
                  <a:gd name="T53" fmla="*/ 956 h 1216"/>
                  <a:gd name="T54" fmla="*/ 472 w 1804"/>
                  <a:gd name="T55" fmla="*/ 784 h 1216"/>
                  <a:gd name="T56" fmla="*/ 396 w 1804"/>
                  <a:gd name="T57" fmla="*/ 736 h 1216"/>
                  <a:gd name="T58" fmla="*/ 332 w 1804"/>
                  <a:gd name="T59" fmla="*/ 656 h 1216"/>
                  <a:gd name="T60" fmla="*/ 272 w 1804"/>
                  <a:gd name="T61" fmla="*/ 660 h 1216"/>
                  <a:gd name="T62" fmla="*/ 160 w 1804"/>
                  <a:gd name="T63" fmla="*/ 760 h 1216"/>
                  <a:gd name="T64" fmla="*/ 28 w 1804"/>
                  <a:gd name="T65" fmla="*/ 716 h 1216"/>
                  <a:gd name="T66" fmla="*/ 88 w 1804"/>
                  <a:gd name="T67" fmla="*/ 552 h 1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04" h="1216">
                    <a:moveTo>
                      <a:pt x="76" y="496"/>
                    </a:moveTo>
                    <a:lnTo>
                      <a:pt x="124" y="416"/>
                    </a:lnTo>
                    <a:lnTo>
                      <a:pt x="140" y="368"/>
                    </a:lnTo>
                    <a:lnTo>
                      <a:pt x="204" y="260"/>
                    </a:lnTo>
                    <a:lnTo>
                      <a:pt x="420" y="268"/>
                    </a:lnTo>
                    <a:lnTo>
                      <a:pt x="452" y="208"/>
                    </a:lnTo>
                    <a:lnTo>
                      <a:pt x="528" y="148"/>
                    </a:lnTo>
                    <a:lnTo>
                      <a:pt x="588" y="76"/>
                    </a:lnTo>
                    <a:lnTo>
                      <a:pt x="640" y="28"/>
                    </a:lnTo>
                    <a:lnTo>
                      <a:pt x="724" y="24"/>
                    </a:lnTo>
                    <a:lnTo>
                      <a:pt x="776" y="0"/>
                    </a:lnTo>
                    <a:lnTo>
                      <a:pt x="868" y="116"/>
                    </a:lnTo>
                    <a:lnTo>
                      <a:pt x="920" y="128"/>
                    </a:lnTo>
                    <a:lnTo>
                      <a:pt x="1164" y="100"/>
                    </a:lnTo>
                    <a:lnTo>
                      <a:pt x="1400" y="120"/>
                    </a:lnTo>
                    <a:lnTo>
                      <a:pt x="1464" y="176"/>
                    </a:lnTo>
                    <a:lnTo>
                      <a:pt x="1584" y="152"/>
                    </a:lnTo>
                    <a:lnTo>
                      <a:pt x="1628" y="192"/>
                    </a:lnTo>
                    <a:lnTo>
                      <a:pt x="1656" y="356"/>
                    </a:lnTo>
                    <a:lnTo>
                      <a:pt x="1672" y="488"/>
                    </a:lnTo>
                    <a:lnTo>
                      <a:pt x="1632" y="544"/>
                    </a:lnTo>
                    <a:lnTo>
                      <a:pt x="1592" y="568"/>
                    </a:lnTo>
                    <a:lnTo>
                      <a:pt x="1560" y="668"/>
                    </a:lnTo>
                    <a:lnTo>
                      <a:pt x="1536" y="800"/>
                    </a:lnTo>
                    <a:lnTo>
                      <a:pt x="1568" y="848"/>
                    </a:lnTo>
                    <a:lnTo>
                      <a:pt x="1624" y="852"/>
                    </a:lnTo>
                    <a:lnTo>
                      <a:pt x="1696" y="892"/>
                    </a:lnTo>
                    <a:lnTo>
                      <a:pt x="1776" y="952"/>
                    </a:lnTo>
                    <a:lnTo>
                      <a:pt x="1804" y="1004"/>
                    </a:lnTo>
                    <a:lnTo>
                      <a:pt x="1728" y="1068"/>
                    </a:lnTo>
                    <a:lnTo>
                      <a:pt x="1668" y="1140"/>
                    </a:lnTo>
                    <a:lnTo>
                      <a:pt x="1612" y="1200"/>
                    </a:lnTo>
                    <a:lnTo>
                      <a:pt x="1560" y="1216"/>
                    </a:lnTo>
                    <a:lnTo>
                      <a:pt x="1532" y="1188"/>
                    </a:lnTo>
                    <a:lnTo>
                      <a:pt x="1476" y="1172"/>
                    </a:lnTo>
                    <a:lnTo>
                      <a:pt x="1388" y="1160"/>
                    </a:lnTo>
                    <a:lnTo>
                      <a:pt x="1324" y="1160"/>
                    </a:lnTo>
                    <a:lnTo>
                      <a:pt x="1268" y="1112"/>
                    </a:lnTo>
                    <a:lnTo>
                      <a:pt x="1240" y="1084"/>
                    </a:lnTo>
                    <a:lnTo>
                      <a:pt x="1212" y="1096"/>
                    </a:lnTo>
                    <a:lnTo>
                      <a:pt x="1164" y="1140"/>
                    </a:lnTo>
                    <a:lnTo>
                      <a:pt x="1096" y="1188"/>
                    </a:lnTo>
                    <a:lnTo>
                      <a:pt x="1000" y="1140"/>
                    </a:lnTo>
                    <a:lnTo>
                      <a:pt x="936" y="1080"/>
                    </a:lnTo>
                    <a:lnTo>
                      <a:pt x="928" y="1032"/>
                    </a:lnTo>
                    <a:lnTo>
                      <a:pt x="924" y="996"/>
                    </a:lnTo>
                    <a:lnTo>
                      <a:pt x="888" y="1000"/>
                    </a:lnTo>
                    <a:lnTo>
                      <a:pt x="864" y="1008"/>
                    </a:lnTo>
                    <a:lnTo>
                      <a:pt x="832" y="976"/>
                    </a:lnTo>
                    <a:lnTo>
                      <a:pt x="784" y="976"/>
                    </a:lnTo>
                    <a:lnTo>
                      <a:pt x="752" y="996"/>
                    </a:lnTo>
                    <a:lnTo>
                      <a:pt x="672" y="980"/>
                    </a:lnTo>
                    <a:lnTo>
                      <a:pt x="556" y="964"/>
                    </a:lnTo>
                    <a:lnTo>
                      <a:pt x="472" y="956"/>
                    </a:lnTo>
                    <a:lnTo>
                      <a:pt x="468" y="892"/>
                    </a:lnTo>
                    <a:lnTo>
                      <a:pt x="472" y="784"/>
                    </a:lnTo>
                    <a:lnTo>
                      <a:pt x="444" y="768"/>
                    </a:lnTo>
                    <a:lnTo>
                      <a:pt x="396" y="736"/>
                    </a:lnTo>
                    <a:lnTo>
                      <a:pt x="356" y="708"/>
                    </a:lnTo>
                    <a:lnTo>
                      <a:pt x="332" y="656"/>
                    </a:lnTo>
                    <a:lnTo>
                      <a:pt x="316" y="616"/>
                    </a:lnTo>
                    <a:lnTo>
                      <a:pt x="272" y="660"/>
                    </a:lnTo>
                    <a:lnTo>
                      <a:pt x="220" y="696"/>
                    </a:lnTo>
                    <a:lnTo>
                      <a:pt x="160" y="760"/>
                    </a:lnTo>
                    <a:lnTo>
                      <a:pt x="128" y="776"/>
                    </a:lnTo>
                    <a:lnTo>
                      <a:pt x="28" y="716"/>
                    </a:lnTo>
                    <a:lnTo>
                      <a:pt x="0" y="692"/>
                    </a:lnTo>
                    <a:lnTo>
                      <a:pt x="88" y="552"/>
                    </a:lnTo>
                    <a:lnTo>
                      <a:pt x="76" y="496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 29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4467214" y="1662998"/>
                <a:ext cx="1889990" cy="1936104"/>
              </a:xfrm>
              <a:custGeom>
                <a:avLst/>
                <a:gdLst>
                  <a:gd name="T0" fmla="*/ 120 w 1376"/>
                  <a:gd name="T1" fmla="*/ 368 h 1464"/>
                  <a:gd name="T2" fmla="*/ 608 w 1376"/>
                  <a:gd name="T3" fmla="*/ 24 h 1464"/>
                  <a:gd name="T4" fmla="*/ 640 w 1376"/>
                  <a:gd name="T5" fmla="*/ 24 h 1464"/>
                  <a:gd name="T6" fmla="*/ 676 w 1376"/>
                  <a:gd name="T7" fmla="*/ 0 h 1464"/>
                  <a:gd name="T8" fmla="*/ 732 w 1376"/>
                  <a:gd name="T9" fmla="*/ 20 h 1464"/>
                  <a:gd name="T10" fmla="*/ 780 w 1376"/>
                  <a:gd name="T11" fmla="*/ 8 h 1464"/>
                  <a:gd name="T12" fmla="*/ 840 w 1376"/>
                  <a:gd name="T13" fmla="*/ 40 h 1464"/>
                  <a:gd name="T14" fmla="*/ 844 w 1376"/>
                  <a:gd name="T15" fmla="*/ 76 h 1464"/>
                  <a:gd name="T16" fmla="*/ 904 w 1376"/>
                  <a:gd name="T17" fmla="*/ 96 h 1464"/>
                  <a:gd name="T18" fmla="*/ 948 w 1376"/>
                  <a:gd name="T19" fmla="*/ 156 h 1464"/>
                  <a:gd name="T20" fmla="*/ 952 w 1376"/>
                  <a:gd name="T21" fmla="*/ 224 h 1464"/>
                  <a:gd name="T22" fmla="*/ 972 w 1376"/>
                  <a:gd name="T23" fmla="*/ 280 h 1464"/>
                  <a:gd name="T24" fmla="*/ 980 w 1376"/>
                  <a:gd name="T25" fmla="*/ 336 h 1464"/>
                  <a:gd name="T26" fmla="*/ 996 w 1376"/>
                  <a:gd name="T27" fmla="*/ 380 h 1464"/>
                  <a:gd name="T28" fmla="*/ 1008 w 1376"/>
                  <a:gd name="T29" fmla="*/ 448 h 1464"/>
                  <a:gd name="T30" fmla="*/ 1040 w 1376"/>
                  <a:gd name="T31" fmla="*/ 476 h 1464"/>
                  <a:gd name="T32" fmla="*/ 1072 w 1376"/>
                  <a:gd name="T33" fmla="*/ 492 h 1464"/>
                  <a:gd name="T34" fmla="*/ 1080 w 1376"/>
                  <a:gd name="T35" fmla="*/ 536 h 1464"/>
                  <a:gd name="T36" fmla="*/ 1080 w 1376"/>
                  <a:gd name="T37" fmla="*/ 572 h 1464"/>
                  <a:gd name="T38" fmla="*/ 1196 w 1376"/>
                  <a:gd name="T39" fmla="*/ 560 h 1464"/>
                  <a:gd name="T40" fmla="*/ 1212 w 1376"/>
                  <a:gd name="T41" fmla="*/ 644 h 1464"/>
                  <a:gd name="T42" fmla="*/ 1192 w 1376"/>
                  <a:gd name="T43" fmla="*/ 684 h 1464"/>
                  <a:gd name="T44" fmla="*/ 1204 w 1376"/>
                  <a:gd name="T45" fmla="*/ 728 h 1464"/>
                  <a:gd name="T46" fmla="*/ 1244 w 1376"/>
                  <a:gd name="T47" fmla="*/ 764 h 1464"/>
                  <a:gd name="T48" fmla="*/ 1260 w 1376"/>
                  <a:gd name="T49" fmla="*/ 804 h 1464"/>
                  <a:gd name="T50" fmla="*/ 1292 w 1376"/>
                  <a:gd name="T51" fmla="*/ 844 h 1464"/>
                  <a:gd name="T52" fmla="*/ 1360 w 1376"/>
                  <a:gd name="T53" fmla="*/ 888 h 1464"/>
                  <a:gd name="T54" fmla="*/ 1344 w 1376"/>
                  <a:gd name="T55" fmla="*/ 924 h 1464"/>
                  <a:gd name="T56" fmla="*/ 1348 w 1376"/>
                  <a:gd name="T57" fmla="*/ 1020 h 1464"/>
                  <a:gd name="T58" fmla="*/ 1376 w 1376"/>
                  <a:gd name="T59" fmla="*/ 1076 h 1464"/>
                  <a:gd name="T60" fmla="*/ 1372 w 1376"/>
                  <a:gd name="T61" fmla="*/ 1120 h 1464"/>
                  <a:gd name="T62" fmla="*/ 1308 w 1376"/>
                  <a:gd name="T63" fmla="*/ 1216 h 1464"/>
                  <a:gd name="T64" fmla="*/ 1220 w 1376"/>
                  <a:gd name="T65" fmla="*/ 1288 h 1464"/>
                  <a:gd name="T66" fmla="*/ 1180 w 1376"/>
                  <a:gd name="T67" fmla="*/ 1284 h 1464"/>
                  <a:gd name="T68" fmla="*/ 1016 w 1376"/>
                  <a:gd name="T69" fmla="*/ 1260 h 1464"/>
                  <a:gd name="T70" fmla="*/ 980 w 1376"/>
                  <a:gd name="T71" fmla="*/ 1276 h 1464"/>
                  <a:gd name="T72" fmla="*/ 900 w 1376"/>
                  <a:gd name="T73" fmla="*/ 1404 h 1464"/>
                  <a:gd name="T74" fmla="*/ 868 w 1376"/>
                  <a:gd name="T75" fmla="*/ 1424 h 1464"/>
                  <a:gd name="T76" fmla="*/ 796 w 1376"/>
                  <a:gd name="T77" fmla="*/ 1464 h 1464"/>
                  <a:gd name="T78" fmla="*/ 644 w 1376"/>
                  <a:gd name="T79" fmla="*/ 1428 h 1464"/>
                  <a:gd name="T80" fmla="*/ 508 w 1376"/>
                  <a:gd name="T81" fmla="*/ 1360 h 1464"/>
                  <a:gd name="T82" fmla="*/ 412 w 1376"/>
                  <a:gd name="T83" fmla="*/ 1292 h 1464"/>
                  <a:gd name="T84" fmla="*/ 268 w 1376"/>
                  <a:gd name="T85" fmla="*/ 1192 h 1464"/>
                  <a:gd name="T86" fmla="*/ 192 w 1376"/>
                  <a:gd name="T87" fmla="*/ 1128 h 1464"/>
                  <a:gd name="T88" fmla="*/ 160 w 1376"/>
                  <a:gd name="T89" fmla="*/ 1112 h 1464"/>
                  <a:gd name="T90" fmla="*/ 276 w 1376"/>
                  <a:gd name="T91" fmla="*/ 1012 h 1464"/>
                  <a:gd name="T92" fmla="*/ 236 w 1376"/>
                  <a:gd name="T93" fmla="*/ 960 h 1464"/>
                  <a:gd name="T94" fmla="*/ 172 w 1376"/>
                  <a:gd name="T95" fmla="*/ 900 h 1464"/>
                  <a:gd name="T96" fmla="*/ 80 w 1376"/>
                  <a:gd name="T97" fmla="*/ 856 h 1464"/>
                  <a:gd name="T98" fmla="*/ 16 w 1376"/>
                  <a:gd name="T99" fmla="*/ 840 h 1464"/>
                  <a:gd name="T100" fmla="*/ 4 w 1376"/>
                  <a:gd name="T101" fmla="*/ 792 h 1464"/>
                  <a:gd name="T102" fmla="*/ 0 w 1376"/>
                  <a:gd name="T103" fmla="*/ 736 h 1464"/>
                  <a:gd name="T104" fmla="*/ 48 w 1376"/>
                  <a:gd name="T105" fmla="*/ 572 h 1464"/>
                  <a:gd name="T106" fmla="*/ 100 w 1376"/>
                  <a:gd name="T107" fmla="*/ 540 h 1464"/>
                  <a:gd name="T108" fmla="*/ 128 w 1376"/>
                  <a:gd name="T109" fmla="*/ 492 h 1464"/>
                  <a:gd name="T110" fmla="*/ 132 w 1376"/>
                  <a:gd name="T111" fmla="*/ 432 h 1464"/>
                  <a:gd name="T112" fmla="*/ 120 w 1376"/>
                  <a:gd name="T113" fmla="*/ 368 h 1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76" h="1464">
                    <a:moveTo>
                      <a:pt x="120" y="368"/>
                    </a:moveTo>
                    <a:lnTo>
                      <a:pt x="608" y="24"/>
                    </a:lnTo>
                    <a:lnTo>
                      <a:pt x="640" y="24"/>
                    </a:lnTo>
                    <a:lnTo>
                      <a:pt x="676" y="0"/>
                    </a:lnTo>
                    <a:lnTo>
                      <a:pt x="732" y="20"/>
                    </a:lnTo>
                    <a:lnTo>
                      <a:pt x="780" y="8"/>
                    </a:lnTo>
                    <a:lnTo>
                      <a:pt x="840" y="40"/>
                    </a:lnTo>
                    <a:lnTo>
                      <a:pt x="844" y="76"/>
                    </a:lnTo>
                    <a:lnTo>
                      <a:pt x="904" y="96"/>
                    </a:lnTo>
                    <a:lnTo>
                      <a:pt x="948" y="156"/>
                    </a:lnTo>
                    <a:lnTo>
                      <a:pt x="952" y="224"/>
                    </a:lnTo>
                    <a:lnTo>
                      <a:pt x="972" y="280"/>
                    </a:lnTo>
                    <a:lnTo>
                      <a:pt x="980" y="336"/>
                    </a:lnTo>
                    <a:lnTo>
                      <a:pt x="996" y="380"/>
                    </a:lnTo>
                    <a:lnTo>
                      <a:pt x="1008" y="448"/>
                    </a:lnTo>
                    <a:lnTo>
                      <a:pt x="1040" y="476"/>
                    </a:lnTo>
                    <a:lnTo>
                      <a:pt x="1072" y="492"/>
                    </a:lnTo>
                    <a:lnTo>
                      <a:pt x="1080" y="536"/>
                    </a:lnTo>
                    <a:lnTo>
                      <a:pt x="1080" y="572"/>
                    </a:lnTo>
                    <a:lnTo>
                      <a:pt x="1196" y="560"/>
                    </a:lnTo>
                    <a:lnTo>
                      <a:pt x="1212" y="644"/>
                    </a:lnTo>
                    <a:lnTo>
                      <a:pt x="1192" y="684"/>
                    </a:lnTo>
                    <a:lnTo>
                      <a:pt x="1204" y="728"/>
                    </a:lnTo>
                    <a:lnTo>
                      <a:pt x="1244" y="764"/>
                    </a:lnTo>
                    <a:lnTo>
                      <a:pt x="1260" y="804"/>
                    </a:lnTo>
                    <a:lnTo>
                      <a:pt x="1292" y="844"/>
                    </a:lnTo>
                    <a:lnTo>
                      <a:pt x="1360" y="888"/>
                    </a:lnTo>
                    <a:lnTo>
                      <a:pt x="1344" y="924"/>
                    </a:lnTo>
                    <a:lnTo>
                      <a:pt x="1348" y="1020"/>
                    </a:lnTo>
                    <a:lnTo>
                      <a:pt x="1376" y="1076"/>
                    </a:lnTo>
                    <a:lnTo>
                      <a:pt x="1372" y="1120"/>
                    </a:lnTo>
                    <a:lnTo>
                      <a:pt x="1308" y="1216"/>
                    </a:lnTo>
                    <a:lnTo>
                      <a:pt x="1220" y="1288"/>
                    </a:lnTo>
                    <a:lnTo>
                      <a:pt x="1180" y="1284"/>
                    </a:lnTo>
                    <a:lnTo>
                      <a:pt x="1016" y="1260"/>
                    </a:lnTo>
                    <a:lnTo>
                      <a:pt x="980" y="1276"/>
                    </a:lnTo>
                    <a:lnTo>
                      <a:pt x="900" y="1404"/>
                    </a:lnTo>
                    <a:lnTo>
                      <a:pt x="868" y="1424"/>
                    </a:lnTo>
                    <a:lnTo>
                      <a:pt x="796" y="1464"/>
                    </a:lnTo>
                    <a:lnTo>
                      <a:pt x="644" y="1428"/>
                    </a:lnTo>
                    <a:lnTo>
                      <a:pt x="508" y="1360"/>
                    </a:lnTo>
                    <a:lnTo>
                      <a:pt x="412" y="1292"/>
                    </a:lnTo>
                    <a:lnTo>
                      <a:pt x="268" y="1192"/>
                    </a:lnTo>
                    <a:lnTo>
                      <a:pt x="192" y="1128"/>
                    </a:lnTo>
                    <a:lnTo>
                      <a:pt x="160" y="1112"/>
                    </a:lnTo>
                    <a:lnTo>
                      <a:pt x="276" y="1012"/>
                    </a:lnTo>
                    <a:lnTo>
                      <a:pt x="236" y="960"/>
                    </a:lnTo>
                    <a:lnTo>
                      <a:pt x="172" y="900"/>
                    </a:lnTo>
                    <a:lnTo>
                      <a:pt x="80" y="856"/>
                    </a:lnTo>
                    <a:lnTo>
                      <a:pt x="16" y="840"/>
                    </a:lnTo>
                    <a:lnTo>
                      <a:pt x="4" y="792"/>
                    </a:lnTo>
                    <a:lnTo>
                      <a:pt x="0" y="736"/>
                    </a:lnTo>
                    <a:lnTo>
                      <a:pt x="48" y="572"/>
                    </a:lnTo>
                    <a:lnTo>
                      <a:pt x="100" y="540"/>
                    </a:lnTo>
                    <a:lnTo>
                      <a:pt x="128" y="492"/>
                    </a:lnTo>
                    <a:lnTo>
                      <a:pt x="132" y="432"/>
                    </a:lnTo>
                    <a:lnTo>
                      <a:pt x="120" y="368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004363" y="2832491"/>
                <a:ext cx="3133010" cy="2602205"/>
              </a:xfrm>
              <a:custGeom>
                <a:avLst/>
                <a:gdLst>
                  <a:gd name="T0" fmla="*/ 1732 w 2280"/>
                  <a:gd name="T1" fmla="*/ 0 h 1960"/>
                  <a:gd name="T2" fmla="*/ 1876 w 2280"/>
                  <a:gd name="T3" fmla="*/ 112 h 1960"/>
                  <a:gd name="T4" fmla="*/ 1960 w 2280"/>
                  <a:gd name="T5" fmla="*/ 208 h 1960"/>
                  <a:gd name="T6" fmla="*/ 2064 w 2280"/>
                  <a:gd name="T7" fmla="*/ 304 h 1960"/>
                  <a:gd name="T8" fmla="*/ 2044 w 2280"/>
                  <a:gd name="T9" fmla="*/ 424 h 1960"/>
                  <a:gd name="T10" fmla="*/ 2064 w 2280"/>
                  <a:gd name="T11" fmla="*/ 524 h 1960"/>
                  <a:gd name="T12" fmla="*/ 2132 w 2280"/>
                  <a:gd name="T13" fmla="*/ 588 h 1960"/>
                  <a:gd name="T14" fmla="*/ 2148 w 2280"/>
                  <a:gd name="T15" fmla="*/ 736 h 1960"/>
                  <a:gd name="T16" fmla="*/ 2096 w 2280"/>
                  <a:gd name="T17" fmla="*/ 892 h 1960"/>
                  <a:gd name="T18" fmla="*/ 2152 w 2280"/>
                  <a:gd name="T19" fmla="*/ 980 h 1960"/>
                  <a:gd name="T20" fmla="*/ 2084 w 2280"/>
                  <a:gd name="T21" fmla="*/ 1132 h 1960"/>
                  <a:gd name="T22" fmla="*/ 2104 w 2280"/>
                  <a:gd name="T23" fmla="*/ 1188 h 1960"/>
                  <a:gd name="T24" fmla="*/ 2164 w 2280"/>
                  <a:gd name="T25" fmla="*/ 1272 h 1960"/>
                  <a:gd name="T26" fmla="*/ 2240 w 2280"/>
                  <a:gd name="T27" fmla="*/ 1384 h 1960"/>
                  <a:gd name="T28" fmla="*/ 2168 w 2280"/>
                  <a:gd name="T29" fmla="*/ 1408 h 1960"/>
                  <a:gd name="T30" fmla="*/ 2120 w 2280"/>
                  <a:gd name="T31" fmla="*/ 1440 h 1960"/>
                  <a:gd name="T32" fmla="*/ 1960 w 2280"/>
                  <a:gd name="T33" fmla="*/ 1344 h 1960"/>
                  <a:gd name="T34" fmla="*/ 1920 w 2280"/>
                  <a:gd name="T35" fmla="*/ 1380 h 1960"/>
                  <a:gd name="T36" fmla="*/ 1880 w 2280"/>
                  <a:gd name="T37" fmla="*/ 1448 h 1960"/>
                  <a:gd name="T38" fmla="*/ 1828 w 2280"/>
                  <a:gd name="T39" fmla="*/ 1460 h 1960"/>
                  <a:gd name="T40" fmla="*/ 1740 w 2280"/>
                  <a:gd name="T41" fmla="*/ 1524 h 1960"/>
                  <a:gd name="T42" fmla="*/ 1648 w 2280"/>
                  <a:gd name="T43" fmla="*/ 1536 h 1960"/>
                  <a:gd name="T44" fmla="*/ 1568 w 2280"/>
                  <a:gd name="T45" fmla="*/ 1600 h 1960"/>
                  <a:gd name="T46" fmla="*/ 1464 w 2280"/>
                  <a:gd name="T47" fmla="*/ 1676 h 1960"/>
                  <a:gd name="T48" fmla="*/ 1380 w 2280"/>
                  <a:gd name="T49" fmla="*/ 1636 h 1960"/>
                  <a:gd name="T50" fmla="*/ 1304 w 2280"/>
                  <a:gd name="T51" fmla="*/ 1636 h 1960"/>
                  <a:gd name="T52" fmla="*/ 1228 w 2280"/>
                  <a:gd name="T53" fmla="*/ 1644 h 1960"/>
                  <a:gd name="T54" fmla="*/ 1144 w 2280"/>
                  <a:gd name="T55" fmla="*/ 1648 h 1960"/>
                  <a:gd name="T56" fmla="*/ 1196 w 2280"/>
                  <a:gd name="T57" fmla="*/ 1720 h 1960"/>
                  <a:gd name="T58" fmla="*/ 1184 w 2280"/>
                  <a:gd name="T59" fmla="*/ 1800 h 1960"/>
                  <a:gd name="T60" fmla="*/ 1232 w 2280"/>
                  <a:gd name="T61" fmla="*/ 1840 h 1960"/>
                  <a:gd name="T62" fmla="*/ 1184 w 2280"/>
                  <a:gd name="T63" fmla="*/ 1960 h 1960"/>
                  <a:gd name="T64" fmla="*/ 952 w 2280"/>
                  <a:gd name="T65" fmla="*/ 1688 h 1960"/>
                  <a:gd name="T66" fmla="*/ 852 w 2280"/>
                  <a:gd name="T67" fmla="*/ 1368 h 1960"/>
                  <a:gd name="T68" fmla="*/ 812 w 2280"/>
                  <a:gd name="T69" fmla="*/ 1308 h 1960"/>
                  <a:gd name="T70" fmla="*/ 760 w 2280"/>
                  <a:gd name="T71" fmla="*/ 1244 h 1960"/>
                  <a:gd name="T72" fmla="*/ 712 w 2280"/>
                  <a:gd name="T73" fmla="*/ 1244 h 1960"/>
                  <a:gd name="T74" fmla="*/ 620 w 2280"/>
                  <a:gd name="T75" fmla="*/ 1200 h 1960"/>
                  <a:gd name="T76" fmla="*/ 488 w 2280"/>
                  <a:gd name="T77" fmla="*/ 1232 h 1960"/>
                  <a:gd name="T78" fmla="*/ 320 w 2280"/>
                  <a:gd name="T79" fmla="*/ 1240 h 1960"/>
                  <a:gd name="T80" fmla="*/ 232 w 2280"/>
                  <a:gd name="T81" fmla="*/ 1172 h 1960"/>
                  <a:gd name="T82" fmla="*/ 124 w 2280"/>
                  <a:gd name="T83" fmla="*/ 1156 h 1960"/>
                  <a:gd name="T84" fmla="*/ 16 w 2280"/>
                  <a:gd name="T85" fmla="*/ 1104 h 1960"/>
                  <a:gd name="T86" fmla="*/ 32 w 2280"/>
                  <a:gd name="T87" fmla="*/ 1012 h 1960"/>
                  <a:gd name="T88" fmla="*/ 188 w 2280"/>
                  <a:gd name="T89" fmla="*/ 924 h 1960"/>
                  <a:gd name="T90" fmla="*/ 296 w 2280"/>
                  <a:gd name="T91" fmla="*/ 736 h 1960"/>
                  <a:gd name="T92" fmla="*/ 312 w 2280"/>
                  <a:gd name="T93" fmla="*/ 580 h 1960"/>
                  <a:gd name="T94" fmla="*/ 292 w 2280"/>
                  <a:gd name="T95" fmla="*/ 536 h 1960"/>
                  <a:gd name="T96" fmla="*/ 300 w 2280"/>
                  <a:gd name="T97" fmla="*/ 448 h 1960"/>
                  <a:gd name="T98" fmla="*/ 292 w 2280"/>
                  <a:gd name="T99" fmla="*/ 360 h 1960"/>
                  <a:gd name="T100" fmla="*/ 408 w 2280"/>
                  <a:gd name="T101" fmla="*/ 300 h 1960"/>
                  <a:gd name="T102" fmla="*/ 584 w 2280"/>
                  <a:gd name="T103" fmla="*/ 276 h 1960"/>
                  <a:gd name="T104" fmla="*/ 916 w 2280"/>
                  <a:gd name="T105" fmla="*/ 512 h 1960"/>
                  <a:gd name="T106" fmla="*/ 1128 w 2280"/>
                  <a:gd name="T107" fmla="*/ 568 h 1960"/>
                  <a:gd name="T108" fmla="*/ 1280 w 2280"/>
                  <a:gd name="T109" fmla="*/ 428 h 1960"/>
                  <a:gd name="T110" fmla="*/ 1372 w 2280"/>
                  <a:gd name="T111" fmla="*/ 368 h 1960"/>
                  <a:gd name="T112" fmla="*/ 1560 w 2280"/>
                  <a:gd name="T113" fmla="*/ 392 h 1960"/>
                  <a:gd name="T114" fmla="*/ 1680 w 2280"/>
                  <a:gd name="T115" fmla="*/ 280 h 1960"/>
                  <a:gd name="T116" fmla="*/ 1688 w 2280"/>
                  <a:gd name="T117" fmla="*/ 120 h 1960"/>
                  <a:gd name="T118" fmla="*/ 1688 w 2280"/>
                  <a:gd name="T119" fmla="*/ 4 h 1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280" h="1960">
                    <a:moveTo>
                      <a:pt x="1688" y="4"/>
                    </a:moveTo>
                    <a:lnTo>
                      <a:pt x="1732" y="0"/>
                    </a:lnTo>
                    <a:lnTo>
                      <a:pt x="1828" y="68"/>
                    </a:lnTo>
                    <a:lnTo>
                      <a:pt x="1876" y="112"/>
                    </a:lnTo>
                    <a:lnTo>
                      <a:pt x="1904" y="168"/>
                    </a:lnTo>
                    <a:lnTo>
                      <a:pt x="1960" y="208"/>
                    </a:lnTo>
                    <a:lnTo>
                      <a:pt x="2012" y="244"/>
                    </a:lnTo>
                    <a:lnTo>
                      <a:pt x="2064" y="304"/>
                    </a:lnTo>
                    <a:lnTo>
                      <a:pt x="2080" y="372"/>
                    </a:lnTo>
                    <a:lnTo>
                      <a:pt x="2044" y="424"/>
                    </a:lnTo>
                    <a:lnTo>
                      <a:pt x="2028" y="472"/>
                    </a:lnTo>
                    <a:lnTo>
                      <a:pt x="2064" y="524"/>
                    </a:lnTo>
                    <a:lnTo>
                      <a:pt x="2096" y="576"/>
                    </a:lnTo>
                    <a:lnTo>
                      <a:pt x="2132" y="588"/>
                    </a:lnTo>
                    <a:lnTo>
                      <a:pt x="2148" y="700"/>
                    </a:lnTo>
                    <a:lnTo>
                      <a:pt x="2148" y="736"/>
                    </a:lnTo>
                    <a:lnTo>
                      <a:pt x="2100" y="844"/>
                    </a:lnTo>
                    <a:lnTo>
                      <a:pt x="2096" y="892"/>
                    </a:lnTo>
                    <a:lnTo>
                      <a:pt x="2120" y="944"/>
                    </a:lnTo>
                    <a:lnTo>
                      <a:pt x="2152" y="980"/>
                    </a:lnTo>
                    <a:lnTo>
                      <a:pt x="2148" y="1052"/>
                    </a:lnTo>
                    <a:lnTo>
                      <a:pt x="2084" y="1132"/>
                    </a:lnTo>
                    <a:lnTo>
                      <a:pt x="2064" y="1168"/>
                    </a:lnTo>
                    <a:lnTo>
                      <a:pt x="2104" y="1188"/>
                    </a:lnTo>
                    <a:lnTo>
                      <a:pt x="2160" y="1236"/>
                    </a:lnTo>
                    <a:lnTo>
                      <a:pt x="2164" y="1272"/>
                    </a:lnTo>
                    <a:lnTo>
                      <a:pt x="2280" y="1352"/>
                    </a:lnTo>
                    <a:cubicBezTo>
                      <a:pt x="2267" y="1363"/>
                      <a:pt x="2254" y="1374"/>
                      <a:pt x="2240" y="1384"/>
                    </a:cubicBezTo>
                    <a:cubicBezTo>
                      <a:pt x="2233" y="1389"/>
                      <a:pt x="2216" y="1396"/>
                      <a:pt x="2216" y="1396"/>
                    </a:cubicBezTo>
                    <a:lnTo>
                      <a:pt x="2168" y="1408"/>
                    </a:lnTo>
                    <a:cubicBezTo>
                      <a:pt x="2155" y="1415"/>
                      <a:pt x="2140" y="1420"/>
                      <a:pt x="2128" y="1428"/>
                    </a:cubicBezTo>
                    <a:cubicBezTo>
                      <a:pt x="2124" y="1431"/>
                      <a:pt x="2120" y="1440"/>
                      <a:pt x="2120" y="1440"/>
                    </a:cubicBezTo>
                    <a:lnTo>
                      <a:pt x="2060" y="1400"/>
                    </a:lnTo>
                    <a:lnTo>
                      <a:pt x="1960" y="1344"/>
                    </a:lnTo>
                    <a:lnTo>
                      <a:pt x="1924" y="1336"/>
                    </a:lnTo>
                    <a:lnTo>
                      <a:pt x="1920" y="1380"/>
                    </a:lnTo>
                    <a:lnTo>
                      <a:pt x="1932" y="1420"/>
                    </a:lnTo>
                    <a:lnTo>
                      <a:pt x="1880" y="1448"/>
                    </a:lnTo>
                    <a:lnTo>
                      <a:pt x="1860" y="1500"/>
                    </a:lnTo>
                    <a:lnTo>
                      <a:pt x="1828" y="1460"/>
                    </a:lnTo>
                    <a:lnTo>
                      <a:pt x="1772" y="1464"/>
                    </a:lnTo>
                    <a:lnTo>
                      <a:pt x="1740" y="1524"/>
                    </a:lnTo>
                    <a:lnTo>
                      <a:pt x="1700" y="1544"/>
                    </a:lnTo>
                    <a:lnTo>
                      <a:pt x="1648" y="1536"/>
                    </a:lnTo>
                    <a:lnTo>
                      <a:pt x="1584" y="1556"/>
                    </a:lnTo>
                    <a:lnTo>
                      <a:pt x="1568" y="1600"/>
                    </a:lnTo>
                    <a:lnTo>
                      <a:pt x="1548" y="1620"/>
                    </a:lnTo>
                    <a:cubicBezTo>
                      <a:pt x="1520" y="1634"/>
                      <a:pt x="1479" y="1646"/>
                      <a:pt x="1464" y="1676"/>
                    </a:cubicBezTo>
                    <a:lnTo>
                      <a:pt x="1404" y="1656"/>
                    </a:lnTo>
                    <a:lnTo>
                      <a:pt x="1380" y="1636"/>
                    </a:lnTo>
                    <a:lnTo>
                      <a:pt x="1336" y="1624"/>
                    </a:lnTo>
                    <a:lnTo>
                      <a:pt x="1304" y="1636"/>
                    </a:lnTo>
                    <a:lnTo>
                      <a:pt x="1260" y="1644"/>
                    </a:lnTo>
                    <a:lnTo>
                      <a:pt x="1228" y="1644"/>
                    </a:lnTo>
                    <a:lnTo>
                      <a:pt x="1184" y="1636"/>
                    </a:lnTo>
                    <a:lnTo>
                      <a:pt x="1144" y="1648"/>
                    </a:lnTo>
                    <a:lnTo>
                      <a:pt x="1168" y="1692"/>
                    </a:lnTo>
                    <a:lnTo>
                      <a:pt x="1196" y="1720"/>
                    </a:lnTo>
                    <a:lnTo>
                      <a:pt x="1192" y="1748"/>
                    </a:lnTo>
                    <a:lnTo>
                      <a:pt x="1184" y="1800"/>
                    </a:lnTo>
                    <a:lnTo>
                      <a:pt x="1228" y="1816"/>
                    </a:lnTo>
                    <a:lnTo>
                      <a:pt x="1232" y="1840"/>
                    </a:lnTo>
                    <a:lnTo>
                      <a:pt x="1236" y="1908"/>
                    </a:lnTo>
                    <a:lnTo>
                      <a:pt x="1184" y="1960"/>
                    </a:lnTo>
                    <a:lnTo>
                      <a:pt x="1040" y="1948"/>
                    </a:lnTo>
                    <a:lnTo>
                      <a:pt x="952" y="1688"/>
                    </a:lnTo>
                    <a:lnTo>
                      <a:pt x="860" y="1396"/>
                    </a:lnTo>
                    <a:lnTo>
                      <a:pt x="852" y="1368"/>
                    </a:lnTo>
                    <a:lnTo>
                      <a:pt x="828" y="1332"/>
                    </a:lnTo>
                    <a:lnTo>
                      <a:pt x="812" y="1308"/>
                    </a:lnTo>
                    <a:cubicBezTo>
                      <a:pt x="812" y="1293"/>
                      <a:pt x="812" y="1279"/>
                      <a:pt x="812" y="1264"/>
                    </a:cubicBezTo>
                    <a:cubicBezTo>
                      <a:pt x="768" y="1242"/>
                      <a:pt x="787" y="1244"/>
                      <a:pt x="760" y="1244"/>
                    </a:cubicBezTo>
                    <a:lnTo>
                      <a:pt x="748" y="1208"/>
                    </a:lnTo>
                    <a:cubicBezTo>
                      <a:pt x="709" y="1234"/>
                      <a:pt x="712" y="1218"/>
                      <a:pt x="712" y="1244"/>
                    </a:cubicBezTo>
                    <a:lnTo>
                      <a:pt x="652" y="1224"/>
                    </a:lnTo>
                    <a:lnTo>
                      <a:pt x="620" y="1200"/>
                    </a:lnTo>
                    <a:lnTo>
                      <a:pt x="576" y="1212"/>
                    </a:lnTo>
                    <a:lnTo>
                      <a:pt x="488" y="1232"/>
                    </a:lnTo>
                    <a:lnTo>
                      <a:pt x="392" y="1248"/>
                    </a:lnTo>
                    <a:lnTo>
                      <a:pt x="320" y="1240"/>
                    </a:lnTo>
                    <a:lnTo>
                      <a:pt x="268" y="1204"/>
                    </a:lnTo>
                    <a:lnTo>
                      <a:pt x="232" y="1172"/>
                    </a:lnTo>
                    <a:lnTo>
                      <a:pt x="200" y="1156"/>
                    </a:lnTo>
                    <a:lnTo>
                      <a:pt x="124" y="1156"/>
                    </a:lnTo>
                    <a:lnTo>
                      <a:pt x="68" y="1148"/>
                    </a:lnTo>
                    <a:lnTo>
                      <a:pt x="16" y="1104"/>
                    </a:lnTo>
                    <a:lnTo>
                      <a:pt x="0" y="1060"/>
                    </a:lnTo>
                    <a:lnTo>
                      <a:pt x="32" y="1012"/>
                    </a:lnTo>
                    <a:lnTo>
                      <a:pt x="112" y="972"/>
                    </a:lnTo>
                    <a:lnTo>
                      <a:pt x="188" y="924"/>
                    </a:lnTo>
                    <a:lnTo>
                      <a:pt x="256" y="836"/>
                    </a:lnTo>
                    <a:lnTo>
                      <a:pt x="296" y="736"/>
                    </a:lnTo>
                    <a:lnTo>
                      <a:pt x="288" y="648"/>
                    </a:lnTo>
                    <a:lnTo>
                      <a:pt x="312" y="580"/>
                    </a:lnTo>
                    <a:lnTo>
                      <a:pt x="324" y="552"/>
                    </a:lnTo>
                    <a:lnTo>
                      <a:pt x="292" y="536"/>
                    </a:lnTo>
                    <a:lnTo>
                      <a:pt x="292" y="488"/>
                    </a:lnTo>
                    <a:lnTo>
                      <a:pt x="300" y="448"/>
                    </a:lnTo>
                    <a:lnTo>
                      <a:pt x="300" y="412"/>
                    </a:lnTo>
                    <a:lnTo>
                      <a:pt x="292" y="360"/>
                    </a:lnTo>
                    <a:lnTo>
                      <a:pt x="356" y="332"/>
                    </a:lnTo>
                    <a:lnTo>
                      <a:pt x="408" y="300"/>
                    </a:lnTo>
                    <a:lnTo>
                      <a:pt x="496" y="216"/>
                    </a:lnTo>
                    <a:lnTo>
                      <a:pt x="584" y="276"/>
                    </a:lnTo>
                    <a:lnTo>
                      <a:pt x="724" y="388"/>
                    </a:lnTo>
                    <a:lnTo>
                      <a:pt x="916" y="512"/>
                    </a:lnTo>
                    <a:lnTo>
                      <a:pt x="1024" y="544"/>
                    </a:lnTo>
                    <a:lnTo>
                      <a:pt x="1128" y="568"/>
                    </a:lnTo>
                    <a:lnTo>
                      <a:pt x="1228" y="504"/>
                    </a:lnTo>
                    <a:lnTo>
                      <a:pt x="1280" y="428"/>
                    </a:lnTo>
                    <a:lnTo>
                      <a:pt x="1328" y="372"/>
                    </a:lnTo>
                    <a:lnTo>
                      <a:pt x="1372" y="368"/>
                    </a:lnTo>
                    <a:lnTo>
                      <a:pt x="1472" y="384"/>
                    </a:lnTo>
                    <a:lnTo>
                      <a:pt x="1560" y="392"/>
                    </a:lnTo>
                    <a:lnTo>
                      <a:pt x="1612" y="340"/>
                    </a:lnTo>
                    <a:lnTo>
                      <a:pt x="1680" y="280"/>
                    </a:lnTo>
                    <a:lnTo>
                      <a:pt x="1712" y="192"/>
                    </a:lnTo>
                    <a:lnTo>
                      <a:pt x="1688" y="120"/>
                    </a:lnTo>
                    <a:lnTo>
                      <a:pt x="1680" y="44"/>
                    </a:lnTo>
                    <a:lnTo>
                      <a:pt x="1688" y="4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31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5571539" y="4614763"/>
                <a:ext cx="1939436" cy="1095012"/>
              </a:xfrm>
              <a:custGeom>
                <a:avLst/>
                <a:gdLst>
                  <a:gd name="T0" fmla="*/ 1124 w 1412"/>
                  <a:gd name="T1" fmla="*/ 120 h 828"/>
                  <a:gd name="T2" fmla="*/ 1208 w 1412"/>
                  <a:gd name="T3" fmla="*/ 44 h 828"/>
                  <a:gd name="T4" fmla="*/ 1276 w 1412"/>
                  <a:gd name="T5" fmla="*/ 96 h 828"/>
                  <a:gd name="T6" fmla="*/ 1312 w 1412"/>
                  <a:gd name="T7" fmla="*/ 180 h 828"/>
                  <a:gd name="T8" fmla="*/ 1368 w 1412"/>
                  <a:gd name="T9" fmla="*/ 248 h 828"/>
                  <a:gd name="T10" fmla="*/ 1356 w 1412"/>
                  <a:gd name="T11" fmla="*/ 348 h 828"/>
                  <a:gd name="T12" fmla="*/ 1412 w 1412"/>
                  <a:gd name="T13" fmla="*/ 372 h 828"/>
                  <a:gd name="T14" fmla="*/ 1380 w 1412"/>
                  <a:gd name="T15" fmla="*/ 468 h 828"/>
                  <a:gd name="T16" fmla="*/ 1388 w 1412"/>
                  <a:gd name="T17" fmla="*/ 548 h 828"/>
                  <a:gd name="T18" fmla="*/ 1344 w 1412"/>
                  <a:gd name="T19" fmla="*/ 584 h 828"/>
                  <a:gd name="T20" fmla="*/ 1344 w 1412"/>
                  <a:gd name="T21" fmla="*/ 668 h 828"/>
                  <a:gd name="T22" fmla="*/ 1352 w 1412"/>
                  <a:gd name="T23" fmla="*/ 716 h 828"/>
                  <a:gd name="T24" fmla="*/ 1340 w 1412"/>
                  <a:gd name="T25" fmla="*/ 788 h 828"/>
                  <a:gd name="T26" fmla="*/ 1140 w 1412"/>
                  <a:gd name="T27" fmla="*/ 796 h 828"/>
                  <a:gd name="T28" fmla="*/ 888 w 1412"/>
                  <a:gd name="T29" fmla="*/ 796 h 828"/>
                  <a:gd name="T30" fmla="*/ 740 w 1412"/>
                  <a:gd name="T31" fmla="*/ 788 h 828"/>
                  <a:gd name="T32" fmla="*/ 572 w 1412"/>
                  <a:gd name="T33" fmla="*/ 828 h 828"/>
                  <a:gd name="T34" fmla="*/ 344 w 1412"/>
                  <a:gd name="T35" fmla="*/ 768 h 828"/>
                  <a:gd name="T36" fmla="*/ 216 w 1412"/>
                  <a:gd name="T37" fmla="*/ 744 h 828"/>
                  <a:gd name="T38" fmla="*/ 112 w 1412"/>
                  <a:gd name="T39" fmla="*/ 736 h 828"/>
                  <a:gd name="T40" fmla="*/ 72 w 1412"/>
                  <a:gd name="T41" fmla="*/ 644 h 828"/>
                  <a:gd name="T42" fmla="*/ 84 w 1412"/>
                  <a:gd name="T43" fmla="*/ 572 h 828"/>
                  <a:gd name="T44" fmla="*/ 48 w 1412"/>
                  <a:gd name="T45" fmla="*/ 456 h 828"/>
                  <a:gd name="T46" fmla="*/ 0 w 1412"/>
                  <a:gd name="T47" fmla="*/ 300 h 828"/>
                  <a:gd name="T48" fmla="*/ 132 w 1412"/>
                  <a:gd name="T49" fmla="*/ 300 h 828"/>
                  <a:gd name="T50" fmla="*/ 300 w 1412"/>
                  <a:gd name="T51" fmla="*/ 328 h 828"/>
                  <a:gd name="T52" fmla="*/ 356 w 1412"/>
                  <a:gd name="T53" fmla="*/ 296 h 828"/>
                  <a:gd name="T54" fmla="*/ 452 w 1412"/>
                  <a:gd name="T55" fmla="*/ 204 h 828"/>
                  <a:gd name="T56" fmla="*/ 552 w 1412"/>
                  <a:gd name="T57" fmla="*/ 200 h 828"/>
                  <a:gd name="T58" fmla="*/ 628 w 1412"/>
                  <a:gd name="T59" fmla="*/ 124 h 828"/>
                  <a:gd name="T60" fmla="*/ 720 w 1412"/>
                  <a:gd name="T61" fmla="*/ 144 h 828"/>
                  <a:gd name="T62" fmla="*/ 784 w 1412"/>
                  <a:gd name="T63" fmla="*/ 80 h 828"/>
                  <a:gd name="T64" fmla="*/ 808 w 1412"/>
                  <a:gd name="T65" fmla="*/ 0 h 828"/>
                  <a:gd name="T66" fmla="*/ 972 w 1412"/>
                  <a:gd name="T67" fmla="*/ 100 h 828"/>
                  <a:gd name="T68" fmla="*/ 1104 w 1412"/>
                  <a:gd name="T69" fmla="*/ 56 h 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12" h="828">
                    <a:moveTo>
                      <a:pt x="1104" y="56"/>
                    </a:moveTo>
                    <a:lnTo>
                      <a:pt x="1124" y="120"/>
                    </a:lnTo>
                    <a:lnTo>
                      <a:pt x="1204" y="96"/>
                    </a:lnTo>
                    <a:lnTo>
                      <a:pt x="1208" y="44"/>
                    </a:lnTo>
                    <a:lnTo>
                      <a:pt x="1240" y="48"/>
                    </a:lnTo>
                    <a:lnTo>
                      <a:pt x="1276" y="96"/>
                    </a:lnTo>
                    <a:lnTo>
                      <a:pt x="1296" y="140"/>
                    </a:lnTo>
                    <a:lnTo>
                      <a:pt x="1312" y="180"/>
                    </a:lnTo>
                    <a:lnTo>
                      <a:pt x="1312" y="224"/>
                    </a:lnTo>
                    <a:lnTo>
                      <a:pt x="1368" y="248"/>
                    </a:lnTo>
                    <a:lnTo>
                      <a:pt x="1380" y="296"/>
                    </a:lnTo>
                    <a:lnTo>
                      <a:pt x="1356" y="348"/>
                    </a:lnTo>
                    <a:lnTo>
                      <a:pt x="1396" y="352"/>
                    </a:lnTo>
                    <a:lnTo>
                      <a:pt x="1412" y="372"/>
                    </a:lnTo>
                    <a:lnTo>
                      <a:pt x="1380" y="404"/>
                    </a:lnTo>
                    <a:lnTo>
                      <a:pt x="1380" y="468"/>
                    </a:lnTo>
                    <a:lnTo>
                      <a:pt x="1392" y="524"/>
                    </a:lnTo>
                    <a:lnTo>
                      <a:pt x="1388" y="548"/>
                    </a:lnTo>
                    <a:lnTo>
                      <a:pt x="1356" y="536"/>
                    </a:lnTo>
                    <a:lnTo>
                      <a:pt x="1344" y="584"/>
                    </a:lnTo>
                    <a:lnTo>
                      <a:pt x="1348" y="640"/>
                    </a:lnTo>
                    <a:lnTo>
                      <a:pt x="1344" y="668"/>
                    </a:lnTo>
                    <a:lnTo>
                      <a:pt x="1316" y="684"/>
                    </a:lnTo>
                    <a:lnTo>
                      <a:pt x="1352" y="716"/>
                    </a:lnTo>
                    <a:lnTo>
                      <a:pt x="1380" y="756"/>
                    </a:lnTo>
                    <a:lnTo>
                      <a:pt x="1340" y="788"/>
                    </a:lnTo>
                    <a:lnTo>
                      <a:pt x="1300" y="780"/>
                    </a:lnTo>
                    <a:lnTo>
                      <a:pt x="1140" y="796"/>
                    </a:lnTo>
                    <a:lnTo>
                      <a:pt x="1000" y="804"/>
                    </a:lnTo>
                    <a:lnTo>
                      <a:pt x="888" y="796"/>
                    </a:lnTo>
                    <a:lnTo>
                      <a:pt x="836" y="768"/>
                    </a:lnTo>
                    <a:lnTo>
                      <a:pt x="740" y="788"/>
                    </a:lnTo>
                    <a:lnTo>
                      <a:pt x="680" y="824"/>
                    </a:lnTo>
                    <a:lnTo>
                      <a:pt x="572" y="828"/>
                    </a:lnTo>
                    <a:lnTo>
                      <a:pt x="444" y="800"/>
                    </a:lnTo>
                    <a:lnTo>
                      <a:pt x="344" y="768"/>
                    </a:lnTo>
                    <a:lnTo>
                      <a:pt x="260" y="716"/>
                    </a:lnTo>
                    <a:lnTo>
                      <a:pt x="216" y="744"/>
                    </a:lnTo>
                    <a:lnTo>
                      <a:pt x="160" y="760"/>
                    </a:lnTo>
                    <a:lnTo>
                      <a:pt x="112" y="736"/>
                    </a:lnTo>
                    <a:lnTo>
                      <a:pt x="96" y="672"/>
                    </a:lnTo>
                    <a:lnTo>
                      <a:pt x="72" y="644"/>
                    </a:lnTo>
                    <a:lnTo>
                      <a:pt x="24" y="608"/>
                    </a:lnTo>
                    <a:lnTo>
                      <a:pt x="84" y="572"/>
                    </a:lnTo>
                    <a:lnTo>
                      <a:pt x="84" y="480"/>
                    </a:lnTo>
                    <a:lnTo>
                      <a:pt x="48" y="456"/>
                    </a:lnTo>
                    <a:lnTo>
                      <a:pt x="52" y="388"/>
                    </a:lnTo>
                    <a:lnTo>
                      <a:pt x="0" y="300"/>
                    </a:lnTo>
                    <a:lnTo>
                      <a:pt x="72" y="304"/>
                    </a:lnTo>
                    <a:lnTo>
                      <a:pt x="132" y="300"/>
                    </a:lnTo>
                    <a:lnTo>
                      <a:pt x="204" y="276"/>
                    </a:lnTo>
                    <a:lnTo>
                      <a:pt x="300" y="328"/>
                    </a:lnTo>
                    <a:lnTo>
                      <a:pt x="328" y="344"/>
                    </a:lnTo>
                    <a:lnTo>
                      <a:pt x="356" y="296"/>
                    </a:lnTo>
                    <a:lnTo>
                      <a:pt x="416" y="272"/>
                    </a:lnTo>
                    <a:lnTo>
                      <a:pt x="452" y="204"/>
                    </a:lnTo>
                    <a:lnTo>
                      <a:pt x="508" y="204"/>
                    </a:lnTo>
                    <a:lnTo>
                      <a:pt x="552" y="200"/>
                    </a:lnTo>
                    <a:lnTo>
                      <a:pt x="584" y="180"/>
                    </a:lnTo>
                    <a:lnTo>
                      <a:pt x="628" y="124"/>
                    </a:lnTo>
                    <a:lnTo>
                      <a:pt x="684" y="120"/>
                    </a:lnTo>
                    <a:lnTo>
                      <a:pt x="720" y="144"/>
                    </a:lnTo>
                    <a:lnTo>
                      <a:pt x="756" y="84"/>
                    </a:lnTo>
                    <a:lnTo>
                      <a:pt x="784" y="80"/>
                    </a:lnTo>
                    <a:lnTo>
                      <a:pt x="780" y="0"/>
                    </a:lnTo>
                    <a:lnTo>
                      <a:pt x="808" y="0"/>
                    </a:lnTo>
                    <a:lnTo>
                      <a:pt x="888" y="48"/>
                    </a:lnTo>
                    <a:lnTo>
                      <a:pt x="972" y="100"/>
                    </a:lnTo>
                    <a:lnTo>
                      <a:pt x="1004" y="68"/>
                    </a:lnTo>
                    <a:lnTo>
                      <a:pt x="1104" y="56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32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3548201" y="4408459"/>
                <a:ext cx="1889990" cy="1005080"/>
              </a:xfrm>
              <a:custGeom>
                <a:avLst/>
                <a:gdLst>
                  <a:gd name="T0" fmla="*/ 1376 w 1376"/>
                  <a:gd name="T1" fmla="*/ 760 h 760"/>
                  <a:gd name="T2" fmla="*/ 916 w 1376"/>
                  <a:gd name="T3" fmla="*/ 752 h 760"/>
                  <a:gd name="T4" fmla="*/ 324 w 1376"/>
                  <a:gd name="T5" fmla="*/ 736 h 760"/>
                  <a:gd name="T6" fmla="*/ 176 w 1376"/>
                  <a:gd name="T7" fmla="*/ 724 h 760"/>
                  <a:gd name="T8" fmla="*/ 104 w 1376"/>
                  <a:gd name="T9" fmla="*/ 724 h 760"/>
                  <a:gd name="T10" fmla="*/ 132 w 1376"/>
                  <a:gd name="T11" fmla="*/ 660 h 760"/>
                  <a:gd name="T12" fmla="*/ 144 w 1376"/>
                  <a:gd name="T13" fmla="*/ 600 h 760"/>
                  <a:gd name="T14" fmla="*/ 156 w 1376"/>
                  <a:gd name="T15" fmla="*/ 576 h 760"/>
                  <a:gd name="T16" fmla="*/ 156 w 1376"/>
                  <a:gd name="T17" fmla="*/ 540 h 760"/>
                  <a:gd name="T18" fmla="*/ 128 w 1376"/>
                  <a:gd name="T19" fmla="*/ 512 h 760"/>
                  <a:gd name="T20" fmla="*/ 124 w 1376"/>
                  <a:gd name="T21" fmla="*/ 484 h 760"/>
                  <a:gd name="T22" fmla="*/ 120 w 1376"/>
                  <a:gd name="T23" fmla="*/ 456 h 760"/>
                  <a:gd name="T24" fmla="*/ 80 w 1376"/>
                  <a:gd name="T25" fmla="*/ 424 h 760"/>
                  <a:gd name="T26" fmla="*/ 80 w 1376"/>
                  <a:gd name="T27" fmla="*/ 380 h 760"/>
                  <a:gd name="T28" fmla="*/ 68 w 1376"/>
                  <a:gd name="T29" fmla="*/ 352 h 760"/>
                  <a:gd name="T30" fmla="*/ 60 w 1376"/>
                  <a:gd name="T31" fmla="*/ 312 h 760"/>
                  <a:gd name="T32" fmla="*/ 32 w 1376"/>
                  <a:gd name="T33" fmla="*/ 300 h 760"/>
                  <a:gd name="T34" fmla="*/ 0 w 1376"/>
                  <a:gd name="T35" fmla="*/ 268 h 760"/>
                  <a:gd name="T36" fmla="*/ 0 w 1376"/>
                  <a:gd name="T37" fmla="*/ 240 h 760"/>
                  <a:gd name="T38" fmla="*/ 12 w 1376"/>
                  <a:gd name="T39" fmla="*/ 216 h 760"/>
                  <a:gd name="T40" fmla="*/ 8 w 1376"/>
                  <a:gd name="T41" fmla="*/ 164 h 760"/>
                  <a:gd name="T42" fmla="*/ 8 w 1376"/>
                  <a:gd name="T43" fmla="*/ 128 h 760"/>
                  <a:gd name="T44" fmla="*/ 60 w 1376"/>
                  <a:gd name="T45" fmla="*/ 120 h 760"/>
                  <a:gd name="T46" fmla="*/ 112 w 1376"/>
                  <a:gd name="T47" fmla="*/ 92 h 760"/>
                  <a:gd name="T48" fmla="*/ 124 w 1376"/>
                  <a:gd name="T49" fmla="*/ 40 h 760"/>
                  <a:gd name="T50" fmla="*/ 144 w 1376"/>
                  <a:gd name="T51" fmla="*/ 12 h 760"/>
                  <a:gd name="T52" fmla="*/ 192 w 1376"/>
                  <a:gd name="T53" fmla="*/ 0 h 760"/>
                  <a:gd name="T54" fmla="*/ 216 w 1376"/>
                  <a:gd name="T55" fmla="*/ 40 h 760"/>
                  <a:gd name="T56" fmla="*/ 228 w 1376"/>
                  <a:gd name="T57" fmla="*/ 84 h 760"/>
                  <a:gd name="T58" fmla="*/ 264 w 1376"/>
                  <a:gd name="T59" fmla="*/ 96 h 760"/>
                  <a:gd name="T60" fmla="*/ 328 w 1376"/>
                  <a:gd name="T61" fmla="*/ 120 h 760"/>
                  <a:gd name="T62" fmla="*/ 408 w 1376"/>
                  <a:gd name="T63" fmla="*/ 132 h 760"/>
                  <a:gd name="T64" fmla="*/ 460 w 1376"/>
                  <a:gd name="T65" fmla="*/ 140 h 760"/>
                  <a:gd name="T66" fmla="*/ 520 w 1376"/>
                  <a:gd name="T67" fmla="*/ 148 h 760"/>
                  <a:gd name="T68" fmla="*/ 576 w 1376"/>
                  <a:gd name="T69" fmla="*/ 196 h 760"/>
                  <a:gd name="T70" fmla="*/ 624 w 1376"/>
                  <a:gd name="T71" fmla="*/ 220 h 760"/>
                  <a:gd name="T72" fmla="*/ 672 w 1376"/>
                  <a:gd name="T73" fmla="*/ 228 h 760"/>
                  <a:gd name="T74" fmla="*/ 752 w 1376"/>
                  <a:gd name="T75" fmla="*/ 232 h 760"/>
                  <a:gd name="T76" fmla="*/ 840 w 1376"/>
                  <a:gd name="T77" fmla="*/ 220 h 760"/>
                  <a:gd name="T78" fmla="*/ 928 w 1376"/>
                  <a:gd name="T79" fmla="*/ 192 h 760"/>
                  <a:gd name="T80" fmla="*/ 976 w 1376"/>
                  <a:gd name="T81" fmla="*/ 148 h 760"/>
                  <a:gd name="T82" fmla="*/ 1024 w 1376"/>
                  <a:gd name="T83" fmla="*/ 144 h 760"/>
                  <a:gd name="T84" fmla="*/ 1072 w 1376"/>
                  <a:gd name="T85" fmla="*/ 140 h 760"/>
                  <a:gd name="T86" fmla="*/ 1116 w 1376"/>
                  <a:gd name="T87" fmla="*/ 60 h 760"/>
                  <a:gd name="T88" fmla="*/ 1168 w 1376"/>
                  <a:gd name="T89" fmla="*/ 80 h 760"/>
                  <a:gd name="T90" fmla="*/ 1160 w 1376"/>
                  <a:gd name="T91" fmla="*/ 128 h 760"/>
                  <a:gd name="T92" fmla="*/ 1188 w 1376"/>
                  <a:gd name="T93" fmla="*/ 152 h 760"/>
                  <a:gd name="T94" fmla="*/ 1272 w 1376"/>
                  <a:gd name="T95" fmla="*/ 400 h 760"/>
                  <a:gd name="T96" fmla="*/ 1376 w 1376"/>
                  <a:gd name="T97" fmla="*/ 76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76" h="760">
                    <a:moveTo>
                      <a:pt x="1376" y="760"/>
                    </a:moveTo>
                    <a:lnTo>
                      <a:pt x="916" y="752"/>
                    </a:lnTo>
                    <a:lnTo>
                      <a:pt x="324" y="736"/>
                    </a:lnTo>
                    <a:lnTo>
                      <a:pt x="176" y="724"/>
                    </a:lnTo>
                    <a:lnTo>
                      <a:pt x="104" y="724"/>
                    </a:lnTo>
                    <a:lnTo>
                      <a:pt x="132" y="660"/>
                    </a:lnTo>
                    <a:lnTo>
                      <a:pt x="144" y="600"/>
                    </a:lnTo>
                    <a:lnTo>
                      <a:pt x="156" y="576"/>
                    </a:lnTo>
                    <a:lnTo>
                      <a:pt x="156" y="540"/>
                    </a:lnTo>
                    <a:lnTo>
                      <a:pt x="128" y="512"/>
                    </a:lnTo>
                    <a:lnTo>
                      <a:pt x="124" y="484"/>
                    </a:lnTo>
                    <a:lnTo>
                      <a:pt x="120" y="456"/>
                    </a:lnTo>
                    <a:lnTo>
                      <a:pt x="80" y="424"/>
                    </a:lnTo>
                    <a:lnTo>
                      <a:pt x="80" y="380"/>
                    </a:lnTo>
                    <a:lnTo>
                      <a:pt x="68" y="352"/>
                    </a:lnTo>
                    <a:lnTo>
                      <a:pt x="60" y="312"/>
                    </a:lnTo>
                    <a:lnTo>
                      <a:pt x="32" y="300"/>
                    </a:lnTo>
                    <a:lnTo>
                      <a:pt x="0" y="268"/>
                    </a:lnTo>
                    <a:lnTo>
                      <a:pt x="0" y="240"/>
                    </a:lnTo>
                    <a:lnTo>
                      <a:pt x="12" y="216"/>
                    </a:lnTo>
                    <a:lnTo>
                      <a:pt x="8" y="164"/>
                    </a:lnTo>
                    <a:lnTo>
                      <a:pt x="8" y="128"/>
                    </a:lnTo>
                    <a:lnTo>
                      <a:pt x="60" y="120"/>
                    </a:lnTo>
                    <a:lnTo>
                      <a:pt x="112" y="92"/>
                    </a:lnTo>
                    <a:lnTo>
                      <a:pt x="124" y="40"/>
                    </a:lnTo>
                    <a:lnTo>
                      <a:pt x="144" y="12"/>
                    </a:lnTo>
                    <a:lnTo>
                      <a:pt x="192" y="0"/>
                    </a:lnTo>
                    <a:lnTo>
                      <a:pt x="216" y="40"/>
                    </a:lnTo>
                    <a:lnTo>
                      <a:pt x="228" y="84"/>
                    </a:lnTo>
                    <a:lnTo>
                      <a:pt x="264" y="96"/>
                    </a:lnTo>
                    <a:lnTo>
                      <a:pt x="328" y="120"/>
                    </a:lnTo>
                    <a:lnTo>
                      <a:pt x="408" y="132"/>
                    </a:lnTo>
                    <a:lnTo>
                      <a:pt x="460" y="140"/>
                    </a:lnTo>
                    <a:lnTo>
                      <a:pt x="520" y="148"/>
                    </a:lnTo>
                    <a:lnTo>
                      <a:pt x="576" y="196"/>
                    </a:lnTo>
                    <a:lnTo>
                      <a:pt x="624" y="220"/>
                    </a:lnTo>
                    <a:lnTo>
                      <a:pt x="672" y="228"/>
                    </a:lnTo>
                    <a:lnTo>
                      <a:pt x="752" y="232"/>
                    </a:lnTo>
                    <a:lnTo>
                      <a:pt x="840" y="220"/>
                    </a:lnTo>
                    <a:lnTo>
                      <a:pt x="928" y="192"/>
                    </a:lnTo>
                    <a:lnTo>
                      <a:pt x="976" y="148"/>
                    </a:lnTo>
                    <a:lnTo>
                      <a:pt x="1024" y="144"/>
                    </a:lnTo>
                    <a:lnTo>
                      <a:pt x="1072" y="140"/>
                    </a:lnTo>
                    <a:lnTo>
                      <a:pt x="1116" y="60"/>
                    </a:lnTo>
                    <a:lnTo>
                      <a:pt x="1168" y="80"/>
                    </a:lnTo>
                    <a:lnTo>
                      <a:pt x="1160" y="128"/>
                    </a:lnTo>
                    <a:lnTo>
                      <a:pt x="1188" y="152"/>
                    </a:lnTo>
                    <a:lnTo>
                      <a:pt x="1272" y="400"/>
                    </a:lnTo>
                    <a:lnTo>
                      <a:pt x="1376" y="76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33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2860688" y="4561862"/>
                <a:ext cx="906537" cy="1020949"/>
              </a:xfrm>
              <a:custGeom>
                <a:avLst/>
                <a:gdLst>
                  <a:gd name="T0" fmla="*/ 112 w 660"/>
                  <a:gd name="T1" fmla="*/ 180 h 772"/>
                  <a:gd name="T2" fmla="*/ 200 w 660"/>
                  <a:gd name="T3" fmla="*/ 176 h 772"/>
                  <a:gd name="T4" fmla="*/ 224 w 660"/>
                  <a:gd name="T5" fmla="*/ 48 h 772"/>
                  <a:gd name="T6" fmla="*/ 340 w 660"/>
                  <a:gd name="T7" fmla="*/ 12 h 772"/>
                  <a:gd name="T8" fmla="*/ 420 w 660"/>
                  <a:gd name="T9" fmla="*/ 0 h 772"/>
                  <a:gd name="T10" fmla="*/ 512 w 660"/>
                  <a:gd name="T11" fmla="*/ 16 h 772"/>
                  <a:gd name="T12" fmla="*/ 516 w 660"/>
                  <a:gd name="T13" fmla="*/ 104 h 772"/>
                  <a:gd name="T14" fmla="*/ 496 w 660"/>
                  <a:gd name="T15" fmla="*/ 152 h 772"/>
                  <a:gd name="T16" fmla="*/ 540 w 660"/>
                  <a:gd name="T17" fmla="*/ 188 h 772"/>
                  <a:gd name="T18" fmla="*/ 572 w 660"/>
                  <a:gd name="T19" fmla="*/ 204 h 772"/>
                  <a:gd name="T20" fmla="*/ 584 w 660"/>
                  <a:gd name="T21" fmla="*/ 252 h 772"/>
                  <a:gd name="T22" fmla="*/ 588 w 660"/>
                  <a:gd name="T23" fmla="*/ 288 h 772"/>
                  <a:gd name="T24" fmla="*/ 616 w 660"/>
                  <a:gd name="T25" fmla="*/ 336 h 772"/>
                  <a:gd name="T26" fmla="*/ 632 w 660"/>
                  <a:gd name="T27" fmla="*/ 392 h 772"/>
                  <a:gd name="T28" fmla="*/ 660 w 660"/>
                  <a:gd name="T29" fmla="*/ 444 h 772"/>
                  <a:gd name="T30" fmla="*/ 616 w 660"/>
                  <a:gd name="T31" fmla="*/ 632 h 772"/>
                  <a:gd name="T32" fmla="*/ 484 w 660"/>
                  <a:gd name="T33" fmla="*/ 684 h 772"/>
                  <a:gd name="T34" fmla="*/ 332 w 660"/>
                  <a:gd name="T35" fmla="*/ 756 h 772"/>
                  <a:gd name="T36" fmla="*/ 172 w 660"/>
                  <a:gd name="T37" fmla="*/ 768 h 772"/>
                  <a:gd name="T38" fmla="*/ 120 w 660"/>
                  <a:gd name="T39" fmla="*/ 772 h 772"/>
                  <a:gd name="T40" fmla="*/ 100 w 660"/>
                  <a:gd name="T41" fmla="*/ 744 h 772"/>
                  <a:gd name="T42" fmla="*/ 44 w 660"/>
                  <a:gd name="T43" fmla="*/ 620 h 772"/>
                  <a:gd name="T44" fmla="*/ 148 w 660"/>
                  <a:gd name="T45" fmla="*/ 664 h 772"/>
                  <a:gd name="T46" fmla="*/ 228 w 660"/>
                  <a:gd name="T47" fmla="*/ 672 h 772"/>
                  <a:gd name="T48" fmla="*/ 260 w 660"/>
                  <a:gd name="T49" fmla="*/ 680 h 772"/>
                  <a:gd name="T50" fmla="*/ 320 w 660"/>
                  <a:gd name="T51" fmla="*/ 688 h 772"/>
                  <a:gd name="T52" fmla="*/ 364 w 660"/>
                  <a:gd name="T53" fmla="*/ 656 h 772"/>
                  <a:gd name="T54" fmla="*/ 420 w 660"/>
                  <a:gd name="T55" fmla="*/ 592 h 772"/>
                  <a:gd name="T56" fmla="*/ 436 w 660"/>
                  <a:gd name="T57" fmla="*/ 568 h 772"/>
                  <a:gd name="T58" fmla="*/ 356 w 660"/>
                  <a:gd name="T59" fmla="*/ 612 h 772"/>
                  <a:gd name="T60" fmla="*/ 340 w 660"/>
                  <a:gd name="T61" fmla="*/ 648 h 772"/>
                  <a:gd name="T62" fmla="*/ 288 w 660"/>
                  <a:gd name="T63" fmla="*/ 672 h 772"/>
                  <a:gd name="T64" fmla="*/ 252 w 660"/>
                  <a:gd name="T65" fmla="*/ 652 h 772"/>
                  <a:gd name="T66" fmla="*/ 192 w 660"/>
                  <a:gd name="T67" fmla="*/ 640 h 772"/>
                  <a:gd name="T68" fmla="*/ 128 w 660"/>
                  <a:gd name="T69" fmla="*/ 640 h 772"/>
                  <a:gd name="T70" fmla="*/ 64 w 660"/>
                  <a:gd name="T71" fmla="*/ 628 h 772"/>
                  <a:gd name="T72" fmla="*/ 12 w 660"/>
                  <a:gd name="T73" fmla="*/ 604 h 772"/>
                  <a:gd name="T74" fmla="*/ 0 w 660"/>
                  <a:gd name="T75" fmla="*/ 568 h 772"/>
                  <a:gd name="T76" fmla="*/ 0 w 660"/>
                  <a:gd name="T77" fmla="*/ 476 h 772"/>
                  <a:gd name="T78" fmla="*/ 28 w 660"/>
                  <a:gd name="T79" fmla="*/ 424 h 772"/>
                  <a:gd name="T80" fmla="*/ 32 w 660"/>
                  <a:gd name="T81" fmla="*/ 388 h 772"/>
                  <a:gd name="T82" fmla="*/ 80 w 660"/>
                  <a:gd name="T83" fmla="*/ 304 h 772"/>
                  <a:gd name="T84" fmla="*/ 100 w 660"/>
                  <a:gd name="T85" fmla="*/ 252 h 772"/>
                  <a:gd name="T86" fmla="*/ 76 w 660"/>
                  <a:gd name="T87" fmla="*/ 220 h 772"/>
                  <a:gd name="T88" fmla="*/ 112 w 660"/>
                  <a:gd name="T89" fmla="*/ 180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60" h="772">
                    <a:moveTo>
                      <a:pt x="112" y="180"/>
                    </a:moveTo>
                    <a:lnTo>
                      <a:pt x="200" y="176"/>
                    </a:lnTo>
                    <a:lnTo>
                      <a:pt x="224" y="48"/>
                    </a:lnTo>
                    <a:lnTo>
                      <a:pt x="340" y="12"/>
                    </a:lnTo>
                    <a:lnTo>
                      <a:pt x="420" y="0"/>
                    </a:lnTo>
                    <a:lnTo>
                      <a:pt x="512" y="16"/>
                    </a:lnTo>
                    <a:lnTo>
                      <a:pt x="516" y="104"/>
                    </a:lnTo>
                    <a:lnTo>
                      <a:pt x="496" y="152"/>
                    </a:lnTo>
                    <a:lnTo>
                      <a:pt x="540" y="188"/>
                    </a:lnTo>
                    <a:lnTo>
                      <a:pt x="572" y="204"/>
                    </a:lnTo>
                    <a:lnTo>
                      <a:pt x="584" y="252"/>
                    </a:lnTo>
                    <a:lnTo>
                      <a:pt x="588" y="288"/>
                    </a:lnTo>
                    <a:lnTo>
                      <a:pt x="616" y="336"/>
                    </a:lnTo>
                    <a:lnTo>
                      <a:pt x="632" y="392"/>
                    </a:lnTo>
                    <a:lnTo>
                      <a:pt x="660" y="444"/>
                    </a:lnTo>
                    <a:lnTo>
                      <a:pt x="616" y="632"/>
                    </a:lnTo>
                    <a:lnTo>
                      <a:pt x="484" y="684"/>
                    </a:lnTo>
                    <a:lnTo>
                      <a:pt x="332" y="756"/>
                    </a:lnTo>
                    <a:lnTo>
                      <a:pt x="172" y="768"/>
                    </a:lnTo>
                    <a:lnTo>
                      <a:pt x="120" y="772"/>
                    </a:lnTo>
                    <a:lnTo>
                      <a:pt x="100" y="744"/>
                    </a:lnTo>
                    <a:lnTo>
                      <a:pt x="44" y="620"/>
                    </a:lnTo>
                    <a:lnTo>
                      <a:pt x="148" y="664"/>
                    </a:lnTo>
                    <a:lnTo>
                      <a:pt x="228" y="672"/>
                    </a:lnTo>
                    <a:lnTo>
                      <a:pt x="260" y="680"/>
                    </a:lnTo>
                    <a:lnTo>
                      <a:pt x="320" y="688"/>
                    </a:lnTo>
                    <a:lnTo>
                      <a:pt x="364" y="656"/>
                    </a:lnTo>
                    <a:lnTo>
                      <a:pt x="420" y="592"/>
                    </a:lnTo>
                    <a:lnTo>
                      <a:pt x="436" y="568"/>
                    </a:lnTo>
                    <a:lnTo>
                      <a:pt x="356" y="612"/>
                    </a:lnTo>
                    <a:lnTo>
                      <a:pt x="340" y="648"/>
                    </a:lnTo>
                    <a:lnTo>
                      <a:pt x="288" y="672"/>
                    </a:lnTo>
                    <a:lnTo>
                      <a:pt x="252" y="652"/>
                    </a:lnTo>
                    <a:lnTo>
                      <a:pt x="192" y="640"/>
                    </a:lnTo>
                    <a:lnTo>
                      <a:pt x="128" y="640"/>
                    </a:lnTo>
                    <a:lnTo>
                      <a:pt x="64" y="628"/>
                    </a:lnTo>
                    <a:lnTo>
                      <a:pt x="12" y="604"/>
                    </a:lnTo>
                    <a:lnTo>
                      <a:pt x="0" y="568"/>
                    </a:lnTo>
                    <a:lnTo>
                      <a:pt x="0" y="476"/>
                    </a:lnTo>
                    <a:lnTo>
                      <a:pt x="28" y="424"/>
                    </a:lnTo>
                    <a:lnTo>
                      <a:pt x="32" y="388"/>
                    </a:lnTo>
                    <a:lnTo>
                      <a:pt x="80" y="304"/>
                    </a:lnTo>
                    <a:lnTo>
                      <a:pt x="100" y="252"/>
                    </a:lnTo>
                    <a:lnTo>
                      <a:pt x="76" y="220"/>
                    </a:lnTo>
                    <a:lnTo>
                      <a:pt x="112" y="18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Freeform 34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2062660" y="4778750"/>
                <a:ext cx="957355" cy="872836"/>
              </a:xfrm>
              <a:custGeom>
                <a:avLst/>
                <a:gdLst>
                  <a:gd name="T0" fmla="*/ 189 w 697"/>
                  <a:gd name="T1" fmla="*/ 0 h 660"/>
                  <a:gd name="T2" fmla="*/ 93 w 697"/>
                  <a:gd name="T3" fmla="*/ 24 h 660"/>
                  <a:gd name="T4" fmla="*/ 69 w 697"/>
                  <a:gd name="T5" fmla="*/ 98 h 660"/>
                  <a:gd name="T6" fmla="*/ 42 w 697"/>
                  <a:gd name="T7" fmla="*/ 222 h 660"/>
                  <a:gd name="T8" fmla="*/ 15 w 697"/>
                  <a:gd name="T9" fmla="*/ 320 h 660"/>
                  <a:gd name="T10" fmla="*/ 28 w 697"/>
                  <a:gd name="T11" fmla="*/ 366 h 660"/>
                  <a:gd name="T12" fmla="*/ 69 w 697"/>
                  <a:gd name="T13" fmla="*/ 353 h 660"/>
                  <a:gd name="T14" fmla="*/ 133 w 697"/>
                  <a:gd name="T15" fmla="*/ 414 h 660"/>
                  <a:gd name="T16" fmla="*/ 171 w 697"/>
                  <a:gd name="T17" fmla="*/ 432 h 660"/>
                  <a:gd name="T18" fmla="*/ 229 w 697"/>
                  <a:gd name="T19" fmla="*/ 413 h 660"/>
                  <a:gd name="T20" fmla="*/ 274 w 697"/>
                  <a:gd name="T21" fmla="*/ 462 h 660"/>
                  <a:gd name="T22" fmla="*/ 333 w 697"/>
                  <a:gd name="T23" fmla="*/ 449 h 660"/>
                  <a:gd name="T24" fmla="*/ 402 w 697"/>
                  <a:gd name="T25" fmla="*/ 459 h 660"/>
                  <a:gd name="T26" fmla="*/ 462 w 697"/>
                  <a:gd name="T27" fmla="*/ 473 h 660"/>
                  <a:gd name="T28" fmla="*/ 532 w 697"/>
                  <a:gd name="T29" fmla="*/ 461 h 660"/>
                  <a:gd name="T30" fmla="*/ 580 w 697"/>
                  <a:gd name="T31" fmla="*/ 446 h 660"/>
                  <a:gd name="T32" fmla="*/ 573 w 697"/>
                  <a:gd name="T33" fmla="*/ 473 h 660"/>
                  <a:gd name="T34" fmla="*/ 445 w 697"/>
                  <a:gd name="T35" fmla="*/ 491 h 660"/>
                  <a:gd name="T36" fmla="*/ 364 w 697"/>
                  <a:gd name="T37" fmla="*/ 494 h 660"/>
                  <a:gd name="T38" fmla="*/ 315 w 697"/>
                  <a:gd name="T39" fmla="*/ 494 h 660"/>
                  <a:gd name="T40" fmla="*/ 250 w 697"/>
                  <a:gd name="T41" fmla="*/ 483 h 660"/>
                  <a:gd name="T42" fmla="*/ 198 w 697"/>
                  <a:gd name="T43" fmla="*/ 489 h 660"/>
                  <a:gd name="T44" fmla="*/ 157 w 697"/>
                  <a:gd name="T45" fmla="*/ 462 h 660"/>
                  <a:gd name="T46" fmla="*/ 129 w 697"/>
                  <a:gd name="T47" fmla="*/ 453 h 660"/>
                  <a:gd name="T48" fmla="*/ 114 w 697"/>
                  <a:gd name="T49" fmla="*/ 495 h 660"/>
                  <a:gd name="T50" fmla="*/ 91 w 697"/>
                  <a:gd name="T51" fmla="*/ 510 h 660"/>
                  <a:gd name="T52" fmla="*/ 100 w 697"/>
                  <a:gd name="T53" fmla="*/ 552 h 660"/>
                  <a:gd name="T54" fmla="*/ 43 w 697"/>
                  <a:gd name="T55" fmla="*/ 524 h 660"/>
                  <a:gd name="T56" fmla="*/ 12 w 697"/>
                  <a:gd name="T57" fmla="*/ 518 h 660"/>
                  <a:gd name="T58" fmla="*/ 4 w 697"/>
                  <a:gd name="T59" fmla="*/ 584 h 660"/>
                  <a:gd name="T60" fmla="*/ 16 w 697"/>
                  <a:gd name="T61" fmla="*/ 611 h 660"/>
                  <a:gd name="T62" fmla="*/ 75 w 697"/>
                  <a:gd name="T63" fmla="*/ 660 h 660"/>
                  <a:gd name="T64" fmla="*/ 213 w 697"/>
                  <a:gd name="T65" fmla="*/ 653 h 660"/>
                  <a:gd name="T66" fmla="*/ 339 w 697"/>
                  <a:gd name="T67" fmla="*/ 630 h 660"/>
                  <a:gd name="T68" fmla="*/ 477 w 697"/>
                  <a:gd name="T69" fmla="*/ 590 h 660"/>
                  <a:gd name="T70" fmla="*/ 580 w 697"/>
                  <a:gd name="T71" fmla="*/ 581 h 660"/>
                  <a:gd name="T72" fmla="*/ 691 w 697"/>
                  <a:gd name="T73" fmla="*/ 605 h 660"/>
                  <a:gd name="T74" fmla="*/ 637 w 697"/>
                  <a:gd name="T75" fmla="*/ 465 h 660"/>
                  <a:gd name="T76" fmla="*/ 583 w 697"/>
                  <a:gd name="T77" fmla="*/ 387 h 660"/>
                  <a:gd name="T78" fmla="*/ 583 w 697"/>
                  <a:gd name="T79" fmla="*/ 302 h 660"/>
                  <a:gd name="T80" fmla="*/ 612 w 697"/>
                  <a:gd name="T81" fmla="*/ 225 h 660"/>
                  <a:gd name="T82" fmla="*/ 678 w 697"/>
                  <a:gd name="T83" fmla="*/ 93 h 660"/>
                  <a:gd name="T84" fmla="*/ 697 w 697"/>
                  <a:gd name="T85" fmla="*/ 14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97" h="660">
                    <a:moveTo>
                      <a:pt x="685" y="14"/>
                    </a:moveTo>
                    <a:lnTo>
                      <a:pt x="189" y="0"/>
                    </a:lnTo>
                    <a:lnTo>
                      <a:pt x="154" y="5"/>
                    </a:lnTo>
                    <a:lnTo>
                      <a:pt x="93" y="24"/>
                    </a:lnTo>
                    <a:lnTo>
                      <a:pt x="75" y="41"/>
                    </a:lnTo>
                    <a:lnTo>
                      <a:pt x="69" y="98"/>
                    </a:lnTo>
                    <a:lnTo>
                      <a:pt x="67" y="176"/>
                    </a:lnTo>
                    <a:lnTo>
                      <a:pt x="42" y="222"/>
                    </a:lnTo>
                    <a:lnTo>
                      <a:pt x="21" y="308"/>
                    </a:lnTo>
                    <a:lnTo>
                      <a:pt x="15" y="320"/>
                    </a:lnTo>
                    <a:lnTo>
                      <a:pt x="37" y="332"/>
                    </a:lnTo>
                    <a:lnTo>
                      <a:pt x="28" y="366"/>
                    </a:lnTo>
                    <a:lnTo>
                      <a:pt x="40" y="374"/>
                    </a:lnTo>
                    <a:lnTo>
                      <a:pt x="69" y="353"/>
                    </a:lnTo>
                    <a:lnTo>
                      <a:pt x="133" y="398"/>
                    </a:lnTo>
                    <a:lnTo>
                      <a:pt x="133" y="414"/>
                    </a:lnTo>
                    <a:lnTo>
                      <a:pt x="163" y="392"/>
                    </a:lnTo>
                    <a:lnTo>
                      <a:pt x="171" y="432"/>
                    </a:lnTo>
                    <a:lnTo>
                      <a:pt x="202" y="440"/>
                    </a:lnTo>
                    <a:lnTo>
                      <a:pt x="229" y="413"/>
                    </a:lnTo>
                    <a:lnTo>
                      <a:pt x="249" y="422"/>
                    </a:lnTo>
                    <a:lnTo>
                      <a:pt x="274" y="462"/>
                    </a:lnTo>
                    <a:lnTo>
                      <a:pt x="310" y="479"/>
                    </a:lnTo>
                    <a:lnTo>
                      <a:pt x="333" y="449"/>
                    </a:lnTo>
                    <a:lnTo>
                      <a:pt x="366" y="444"/>
                    </a:lnTo>
                    <a:lnTo>
                      <a:pt x="402" y="459"/>
                    </a:lnTo>
                    <a:lnTo>
                      <a:pt x="438" y="464"/>
                    </a:lnTo>
                    <a:lnTo>
                      <a:pt x="462" y="473"/>
                    </a:lnTo>
                    <a:lnTo>
                      <a:pt x="510" y="473"/>
                    </a:lnTo>
                    <a:lnTo>
                      <a:pt x="532" y="461"/>
                    </a:lnTo>
                    <a:lnTo>
                      <a:pt x="544" y="458"/>
                    </a:lnTo>
                    <a:lnTo>
                      <a:pt x="580" y="446"/>
                    </a:lnTo>
                    <a:lnTo>
                      <a:pt x="594" y="462"/>
                    </a:lnTo>
                    <a:lnTo>
                      <a:pt x="573" y="473"/>
                    </a:lnTo>
                    <a:lnTo>
                      <a:pt x="508" y="491"/>
                    </a:lnTo>
                    <a:lnTo>
                      <a:pt x="445" y="491"/>
                    </a:lnTo>
                    <a:lnTo>
                      <a:pt x="393" y="494"/>
                    </a:lnTo>
                    <a:lnTo>
                      <a:pt x="364" y="494"/>
                    </a:lnTo>
                    <a:lnTo>
                      <a:pt x="346" y="480"/>
                    </a:lnTo>
                    <a:lnTo>
                      <a:pt x="315" y="494"/>
                    </a:lnTo>
                    <a:lnTo>
                      <a:pt x="276" y="492"/>
                    </a:lnTo>
                    <a:lnTo>
                      <a:pt x="250" y="483"/>
                    </a:lnTo>
                    <a:lnTo>
                      <a:pt x="216" y="480"/>
                    </a:lnTo>
                    <a:lnTo>
                      <a:pt x="198" y="489"/>
                    </a:lnTo>
                    <a:lnTo>
                      <a:pt x="180" y="485"/>
                    </a:lnTo>
                    <a:lnTo>
                      <a:pt x="157" y="462"/>
                    </a:lnTo>
                    <a:lnTo>
                      <a:pt x="141" y="443"/>
                    </a:lnTo>
                    <a:lnTo>
                      <a:pt x="129" y="453"/>
                    </a:lnTo>
                    <a:lnTo>
                      <a:pt x="127" y="482"/>
                    </a:lnTo>
                    <a:lnTo>
                      <a:pt x="114" y="495"/>
                    </a:lnTo>
                    <a:lnTo>
                      <a:pt x="99" y="495"/>
                    </a:lnTo>
                    <a:lnTo>
                      <a:pt x="91" y="510"/>
                    </a:lnTo>
                    <a:lnTo>
                      <a:pt x="117" y="542"/>
                    </a:lnTo>
                    <a:lnTo>
                      <a:pt x="100" y="552"/>
                    </a:lnTo>
                    <a:lnTo>
                      <a:pt x="69" y="539"/>
                    </a:lnTo>
                    <a:lnTo>
                      <a:pt x="43" y="524"/>
                    </a:lnTo>
                    <a:lnTo>
                      <a:pt x="36" y="498"/>
                    </a:lnTo>
                    <a:lnTo>
                      <a:pt x="12" y="518"/>
                    </a:lnTo>
                    <a:lnTo>
                      <a:pt x="4" y="557"/>
                    </a:lnTo>
                    <a:lnTo>
                      <a:pt x="4" y="584"/>
                    </a:lnTo>
                    <a:lnTo>
                      <a:pt x="0" y="605"/>
                    </a:lnTo>
                    <a:lnTo>
                      <a:pt x="16" y="611"/>
                    </a:lnTo>
                    <a:lnTo>
                      <a:pt x="39" y="636"/>
                    </a:lnTo>
                    <a:lnTo>
                      <a:pt x="75" y="660"/>
                    </a:lnTo>
                    <a:lnTo>
                      <a:pt x="141" y="654"/>
                    </a:lnTo>
                    <a:lnTo>
                      <a:pt x="213" y="653"/>
                    </a:lnTo>
                    <a:lnTo>
                      <a:pt x="270" y="650"/>
                    </a:lnTo>
                    <a:lnTo>
                      <a:pt x="339" y="630"/>
                    </a:lnTo>
                    <a:lnTo>
                      <a:pt x="424" y="606"/>
                    </a:lnTo>
                    <a:lnTo>
                      <a:pt x="477" y="590"/>
                    </a:lnTo>
                    <a:lnTo>
                      <a:pt x="525" y="582"/>
                    </a:lnTo>
                    <a:lnTo>
                      <a:pt x="580" y="581"/>
                    </a:lnTo>
                    <a:lnTo>
                      <a:pt x="658" y="605"/>
                    </a:lnTo>
                    <a:lnTo>
                      <a:pt x="691" y="605"/>
                    </a:lnTo>
                    <a:lnTo>
                      <a:pt x="672" y="552"/>
                    </a:lnTo>
                    <a:lnTo>
                      <a:pt x="637" y="465"/>
                    </a:lnTo>
                    <a:lnTo>
                      <a:pt x="592" y="440"/>
                    </a:lnTo>
                    <a:lnTo>
                      <a:pt x="583" y="387"/>
                    </a:lnTo>
                    <a:lnTo>
                      <a:pt x="583" y="329"/>
                    </a:lnTo>
                    <a:lnTo>
                      <a:pt x="583" y="302"/>
                    </a:lnTo>
                    <a:lnTo>
                      <a:pt x="613" y="258"/>
                    </a:lnTo>
                    <a:lnTo>
                      <a:pt x="612" y="225"/>
                    </a:lnTo>
                    <a:lnTo>
                      <a:pt x="648" y="152"/>
                    </a:lnTo>
                    <a:lnTo>
                      <a:pt x="678" y="93"/>
                    </a:lnTo>
                    <a:lnTo>
                      <a:pt x="661" y="53"/>
                    </a:lnTo>
                    <a:lnTo>
                      <a:pt x="697" y="14"/>
                    </a:lnTo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lIns="36000" rIns="36000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Freeform 35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3224790" y="3096896"/>
                <a:ext cx="1280137" cy="1153200"/>
              </a:xfrm>
              <a:custGeom>
                <a:avLst/>
                <a:gdLst>
                  <a:gd name="T0" fmla="*/ 332 w 932"/>
                  <a:gd name="T1" fmla="*/ 144 h 872"/>
                  <a:gd name="T2" fmla="*/ 230 w 932"/>
                  <a:gd name="T3" fmla="*/ 158 h 872"/>
                  <a:gd name="T4" fmla="*/ 160 w 932"/>
                  <a:gd name="T5" fmla="*/ 190 h 872"/>
                  <a:gd name="T6" fmla="*/ 80 w 932"/>
                  <a:gd name="T7" fmla="*/ 276 h 872"/>
                  <a:gd name="T8" fmla="*/ 54 w 932"/>
                  <a:gd name="T9" fmla="*/ 344 h 872"/>
                  <a:gd name="T10" fmla="*/ 30 w 932"/>
                  <a:gd name="T11" fmla="*/ 464 h 872"/>
                  <a:gd name="T12" fmla="*/ 0 w 932"/>
                  <a:gd name="T13" fmla="*/ 540 h 872"/>
                  <a:gd name="T14" fmla="*/ 38 w 932"/>
                  <a:gd name="T15" fmla="*/ 568 h 872"/>
                  <a:gd name="T16" fmla="*/ 90 w 932"/>
                  <a:gd name="T17" fmla="*/ 636 h 872"/>
                  <a:gd name="T18" fmla="*/ 170 w 932"/>
                  <a:gd name="T19" fmla="*/ 698 h 872"/>
                  <a:gd name="T20" fmla="*/ 148 w 932"/>
                  <a:gd name="T21" fmla="*/ 748 h 872"/>
                  <a:gd name="T22" fmla="*/ 208 w 932"/>
                  <a:gd name="T23" fmla="*/ 816 h 872"/>
                  <a:gd name="T24" fmla="*/ 246 w 932"/>
                  <a:gd name="T25" fmla="*/ 772 h 872"/>
                  <a:gd name="T26" fmla="*/ 312 w 932"/>
                  <a:gd name="T27" fmla="*/ 794 h 872"/>
                  <a:gd name="T28" fmla="*/ 384 w 932"/>
                  <a:gd name="T29" fmla="*/ 810 h 872"/>
                  <a:gd name="T30" fmla="*/ 396 w 932"/>
                  <a:gd name="T31" fmla="*/ 858 h 872"/>
                  <a:gd name="T32" fmla="*/ 466 w 932"/>
                  <a:gd name="T33" fmla="*/ 838 h 872"/>
                  <a:gd name="T34" fmla="*/ 526 w 932"/>
                  <a:gd name="T35" fmla="*/ 848 h 872"/>
                  <a:gd name="T36" fmla="*/ 584 w 932"/>
                  <a:gd name="T37" fmla="*/ 848 h 872"/>
                  <a:gd name="T38" fmla="*/ 706 w 932"/>
                  <a:gd name="T39" fmla="*/ 764 h 872"/>
                  <a:gd name="T40" fmla="*/ 832 w 932"/>
                  <a:gd name="T41" fmla="*/ 628 h 872"/>
                  <a:gd name="T42" fmla="*/ 872 w 932"/>
                  <a:gd name="T43" fmla="*/ 510 h 872"/>
                  <a:gd name="T44" fmla="*/ 900 w 932"/>
                  <a:gd name="T45" fmla="*/ 350 h 872"/>
                  <a:gd name="T46" fmla="*/ 868 w 932"/>
                  <a:gd name="T47" fmla="*/ 302 h 872"/>
                  <a:gd name="T48" fmla="*/ 870 w 932"/>
                  <a:gd name="T49" fmla="*/ 156 h 872"/>
                  <a:gd name="T50" fmla="*/ 916 w 932"/>
                  <a:gd name="T51" fmla="*/ 106 h 872"/>
                  <a:gd name="T52" fmla="*/ 792 w 932"/>
                  <a:gd name="T53" fmla="*/ 72 h 872"/>
                  <a:gd name="T54" fmla="*/ 690 w 932"/>
                  <a:gd name="T55" fmla="*/ 64 h 872"/>
                  <a:gd name="T56" fmla="*/ 618 w 932"/>
                  <a:gd name="T57" fmla="*/ 0 h 872"/>
                  <a:gd name="T58" fmla="*/ 524 w 932"/>
                  <a:gd name="T59" fmla="*/ 62 h 872"/>
                  <a:gd name="T60" fmla="*/ 450 w 932"/>
                  <a:gd name="T61" fmla="*/ 90 h 872"/>
                  <a:gd name="T62" fmla="*/ 358 w 932"/>
                  <a:gd name="T63" fmla="*/ 52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32" h="872">
                    <a:moveTo>
                      <a:pt x="358" y="52"/>
                    </a:moveTo>
                    <a:lnTo>
                      <a:pt x="332" y="144"/>
                    </a:lnTo>
                    <a:lnTo>
                      <a:pt x="290" y="158"/>
                    </a:lnTo>
                    <a:lnTo>
                      <a:pt x="230" y="158"/>
                    </a:lnTo>
                    <a:lnTo>
                      <a:pt x="196" y="160"/>
                    </a:lnTo>
                    <a:lnTo>
                      <a:pt x="160" y="190"/>
                    </a:lnTo>
                    <a:lnTo>
                      <a:pt x="112" y="236"/>
                    </a:lnTo>
                    <a:lnTo>
                      <a:pt x="80" y="276"/>
                    </a:lnTo>
                    <a:lnTo>
                      <a:pt x="62" y="290"/>
                    </a:lnTo>
                    <a:lnTo>
                      <a:pt x="54" y="344"/>
                    </a:lnTo>
                    <a:lnTo>
                      <a:pt x="54" y="396"/>
                    </a:lnTo>
                    <a:lnTo>
                      <a:pt x="30" y="464"/>
                    </a:lnTo>
                    <a:lnTo>
                      <a:pt x="4" y="514"/>
                    </a:lnTo>
                    <a:lnTo>
                      <a:pt x="0" y="540"/>
                    </a:lnTo>
                    <a:lnTo>
                      <a:pt x="26" y="542"/>
                    </a:lnTo>
                    <a:lnTo>
                      <a:pt x="38" y="568"/>
                    </a:lnTo>
                    <a:lnTo>
                      <a:pt x="88" y="580"/>
                    </a:lnTo>
                    <a:lnTo>
                      <a:pt x="90" y="636"/>
                    </a:lnTo>
                    <a:lnTo>
                      <a:pt x="150" y="670"/>
                    </a:lnTo>
                    <a:lnTo>
                      <a:pt x="170" y="698"/>
                    </a:lnTo>
                    <a:lnTo>
                      <a:pt x="166" y="732"/>
                    </a:lnTo>
                    <a:lnTo>
                      <a:pt x="148" y="748"/>
                    </a:lnTo>
                    <a:lnTo>
                      <a:pt x="174" y="788"/>
                    </a:lnTo>
                    <a:lnTo>
                      <a:pt x="208" y="816"/>
                    </a:lnTo>
                    <a:lnTo>
                      <a:pt x="232" y="796"/>
                    </a:lnTo>
                    <a:lnTo>
                      <a:pt x="246" y="772"/>
                    </a:lnTo>
                    <a:lnTo>
                      <a:pt x="280" y="780"/>
                    </a:lnTo>
                    <a:lnTo>
                      <a:pt x="312" y="794"/>
                    </a:lnTo>
                    <a:lnTo>
                      <a:pt x="346" y="792"/>
                    </a:lnTo>
                    <a:lnTo>
                      <a:pt x="384" y="810"/>
                    </a:lnTo>
                    <a:lnTo>
                      <a:pt x="390" y="842"/>
                    </a:lnTo>
                    <a:lnTo>
                      <a:pt x="396" y="858"/>
                    </a:lnTo>
                    <a:lnTo>
                      <a:pt x="434" y="846"/>
                    </a:lnTo>
                    <a:lnTo>
                      <a:pt x="466" y="838"/>
                    </a:lnTo>
                    <a:lnTo>
                      <a:pt x="482" y="840"/>
                    </a:lnTo>
                    <a:lnTo>
                      <a:pt x="526" y="848"/>
                    </a:lnTo>
                    <a:lnTo>
                      <a:pt x="584" y="872"/>
                    </a:lnTo>
                    <a:lnTo>
                      <a:pt x="584" y="848"/>
                    </a:lnTo>
                    <a:lnTo>
                      <a:pt x="614" y="806"/>
                    </a:lnTo>
                    <a:lnTo>
                      <a:pt x="706" y="764"/>
                    </a:lnTo>
                    <a:lnTo>
                      <a:pt x="778" y="716"/>
                    </a:lnTo>
                    <a:lnTo>
                      <a:pt x="832" y="628"/>
                    </a:lnTo>
                    <a:lnTo>
                      <a:pt x="872" y="548"/>
                    </a:lnTo>
                    <a:lnTo>
                      <a:pt x="872" y="510"/>
                    </a:lnTo>
                    <a:lnTo>
                      <a:pt x="864" y="452"/>
                    </a:lnTo>
                    <a:lnTo>
                      <a:pt x="900" y="350"/>
                    </a:lnTo>
                    <a:lnTo>
                      <a:pt x="872" y="332"/>
                    </a:lnTo>
                    <a:lnTo>
                      <a:pt x="868" y="302"/>
                    </a:lnTo>
                    <a:lnTo>
                      <a:pt x="880" y="224"/>
                    </a:lnTo>
                    <a:lnTo>
                      <a:pt x="870" y="156"/>
                    </a:lnTo>
                    <a:lnTo>
                      <a:pt x="932" y="130"/>
                    </a:lnTo>
                    <a:lnTo>
                      <a:pt x="916" y="106"/>
                    </a:lnTo>
                    <a:lnTo>
                      <a:pt x="882" y="90"/>
                    </a:lnTo>
                    <a:lnTo>
                      <a:pt x="792" y="72"/>
                    </a:lnTo>
                    <a:lnTo>
                      <a:pt x="714" y="68"/>
                    </a:lnTo>
                    <a:lnTo>
                      <a:pt x="690" y="64"/>
                    </a:lnTo>
                    <a:lnTo>
                      <a:pt x="654" y="40"/>
                    </a:lnTo>
                    <a:lnTo>
                      <a:pt x="618" y="0"/>
                    </a:lnTo>
                    <a:lnTo>
                      <a:pt x="564" y="14"/>
                    </a:lnTo>
                    <a:lnTo>
                      <a:pt x="524" y="62"/>
                    </a:lnTo>
                    <a:lnTo>
                      <a:pt x="480" y="92"/>
                    </a:lnTo>
                    <a:lnTo>
                      <a:pt x="450" y="90"/>
                    </a:lnTo>
                    <a:lnTo>
                      <a:pt x="400" y="68"/>
                    </a:lnTo>
                    <a:lnTo>
                      <a:pt x="358" y="52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Freeform 36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2696514" y="3543283"/>
                <a:ext cx="1082444" cy="847333"/>
              </a:xfrm>
              <a:custGeom>
                <a:avLst/>
                <a:gdLst>
                  <a:gd name="T0" fmla="*/ 754 w 788"/>
                  <a:gd name="T1" fmla="*/ 518 h 644"/>
                  <a:gd name="T2" fmla="*/ 652 w 788"/>
                  <a:gd name="T3" fmla="*/ 504 h 644"/>
                  <a:gd name="T4" fmla="*/ 592 w 788"/>
                  <a:gd name="T5" fmla="*/ 546 h 644"/>
                  <a:gd name="T6" fmla="*/ 552 w 788"/>
                  <a:gd name="T7" fmla="*/ 604 h 644"/>
                  <a:gd name="T8" fmla="*/ 472 w 788"/>
                  <a:gd name="T9" fmla="*/ 644 h 644"/>
                  <a:gd name="T10" fmla="*/ 226 w 788"/>
                  <a:gd name="T11" fmla="*/ 636 h 644"/>
                  <a:gd name="T12" fmla="*/ 208 w 788"/>
                  <a:gd name="T13" fmla="*/ 606 h 644"/>
                  <a:gd name="T14" fmla="*/ 174 w 788"/>
                  <a:gd name="T15" fmla="*/ 566 h 644"/>
                  <a:gd name="T16" fmla="*/ 146 w 788"/>
                  <a:gd name="T17" fmla="*/ 522 h 644"/>
                  <a:gd name="T18" fmla="*/ 120 w 788"/>
                  <a:gd name="T19" fmla="*/ 482 h 644"/>
                  <a:gd name="T20" fmla="*/ 104 w 788"/>
                  <a:gd name="T21" fmla="*/ 436 h 644"/>
                  <a:gd name="T22" fmla="*/ 132 w 788"/>
                  <a:gd name="T23" fmla="*/ 384 h 644"/>
                  <a:gd name="T24" fmla="*/ 122 w 788"/>
                  <a:gd name="T25" fmla="*/ 318 h 644"/>
                  <a:gd name="T26" fmla="*/ 110 w 788"/>
                  <a:gd name="T27" fmla="*/ 230 h 644"/>
                  <a:gd name="T28" fmla="*/ 76 w 788"/>
                  <a:gd name="T29" fmla="*/ 190 h 644"/>
                  <a:gd name="T30" fmla="*/ 88 w 788"/>
                  <a:gd name="T31" fmla="*/ 154 h 644"/>
                  <a:gd name="T32" fmla="*/ 76 w 788"/>
                  <a:gd name="T33" fmla="*/ 134 h 644"/>
                  <a:gd name="T34" fmla="*/ 14 w 788"/>
                  <a:gd name="T35" fmla="*/ 150 h 644"/>
                  <a:gd name="T36" fmla="*/ 20 w 788"/>
                  <a:gd name="T37" fmla="*/ 106 h 644"/>
                  <a:gd name="T38" fmla="*/ 56 w 788"/>
                  <a:gd name="T39" fmla="*/ 38 h 644"/>
                  <a:gd name="T40" fmla="*/ 182 w 788"/>
                  <a:gd name="T41" fmla="*/ 0 h 644"/>
                  <a:gd name="T42" fmla="*/ 188 w 788"/>
                  <a:gd name="T43" fmla="*/ 48 h 644"/>
                  <a:gd name="T44" fmla="*/ 188 w 788"/>
                  <a:gd name="T45" fmla="*/ 132 h 644"/>
                  <a:gd name="T46" fmla="*/ 258 w 788"/>
                  <a:gd name="T47" fmla="*/ 210 h 644"/>
                  <a:gd name="T48" fmla="*/ 354 w 788"/>
                  <a:gd name="T49" fmla="*/ 206 h 644"/>
                  <a:gd name="T50" fmla="*/ 412 w 788"/>
                  <a:gd name="T51" fmla="*/ 202 h 644"/>
                  <a:gd name="T52" fmla="*/ 484 w 788"/>
                  <a:gd name="T53" fmla="*/ 240 h 644"/>
                  <a:gd name="T54" fmla="*/ 514 w 788"/>
                  <a:gd name="T55" fmla="*/ 312 h 644"/>
                  <a:gd name="T56" fmla="*/ 558 w 788"/>
                  <a:gd name="T57" fmla="*/ 374 h 644"/>
                  <a:gd name="T58" fmla="*/ 552 w 788"/>
                  <a:gd name="T59" fmla="*/ 426 h 644"/>
                  <a:gd name="T60" fmla="*/ 608 w 788"/>
                  <a:gd name="T61" fmla="*/ 478 h 644"/>
                  <a:gd name="T62" fmla="*/ 660 w 788"/>
                  <a:gd name="T63" fmla="*/ 430 h 644"/>
                  <a:gd name="T64" fmla="*/ 750 w 788"/>
                  <a:gd name="T65" fmla="*/ 456 h 644"/>
                  <a:gd name="T66" fmla="*/ 788 w 788"/>
                  <a:gd name="T67" fmla="*/ 52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88" h="644">
                    <a:moveTo>
                      <a:pt x="788" y="520"/>
                    </a:moveTo>
                    <a:lnTo>
                      <a:pt x="754" y="518"/>
                    </a:lnTo>
                    <a:lnTo>
                      <a:pt x="698" y="508"/>
                    </a:lnTo>
                    <a:lnTo>
                      <a:pt x="652" y="504"/>
                    </a:lnTo>
                    <a:lnTo>
                      <a:pt x="622" y="508"/>
                    </a:lnTo>
                    <a:lnTo>
                      <a:pt x="592" y="546"/>
                    </a:lnTo>
                    <a:lnTo>
                      <a:pt x="574" y="560"/>
                    </a:lnTo>
                    <a:lnTo>
                      <a:pt x="552" y="604"/>
                    </a:lnTo>
                    <a:lnTo>
                      <a:pt x="530" y="644"/>
                    </a:lnTo>
                    <a:lnTo>
                      <a:pt x="472" y="644"/>
                    </a:lnTo>
                    <a:lnTo>
                      <a:pt x="382" y="642"/>
                    </a:lnTo>
                    <a:lnTo>
                      <a:pt x="226" y="636"/>
                    </a:lnTo>
                    <a:lnTo>
                      <a:pt x="220" y="620"/>
                    </a:lnTo>
                    <a:lnTo>
                      <a:pt x="208" y="606"/>
                    </a:lnTo>
                    <a:lnTo>
                      <a:pt x="182" y="580"/>
                    </a:lnTo>
                    <a:lnTo>
                      <a:pt x="174" y="566"/>
                    </a:lnTo>
                    <a:lnTo>
                      <a:pt x="158" y="548"/>
                    </a:lnTo>
                    <a:lnTo>
                      <a:pt x="146" y="522"/>
                    </a:lnTo>
                    <a:lnTo>
                      <a:pt x="136" y="500"/>
                    </a:lnTo>
                    <a:lnTo>
                      <a:pt x="120" y="482"/>
                    </a:lnTo>
                    <a:lnTo>
                      <a:pt x="104" y="466"/>
                    </a:lnTo>
                    <a:lnTo>
                      <a:pt x="104" y="436"/>
                    </a:lnTo>
                    <a:lnTo>
                      <a:pt x="122" y="414"/>
                    </a:lnTo>
                    <a:lnTo>
                      <a:pt x="132" y="384"/>
                    </a:lnTo>
                    <a:lnTo>
                      <a:pt x="134" y="358"/>
                    </a:lnTo>
                    <a:lnTo>
                      <a:pt x="122" y="318"/>
                    </a:lnTo>
                    <a:lnTo>
                      <a:pt x="102" y="280"/>
                    </a:lnTo>
                    <a:lnTo>
                      <a:pt x="110" y="230"/>
                    </a:lnTo>
                    <a:lnTo>
                      <a:pt x="102" y="206"/>
                    </a:lnTo>
                    <a:lnTo>
                      <a:pt x="76" y="190"/>
                    </a:lnTo>
                    <a:lnTo>
                      <a:pt x="52" y="166"/>
                    </a:lnTo>
                    <a:lnTo>
                      <a:pt x="88" y="154"/>
                    </a:lnTo>
                    <a:lnTo>
                      <a:pt x="100" y="152"/>
                    </a:lnTo>
                    <a:lnTo>
                      <a:pt x="76" y="134"/>
                    </a:lnTo>
                    <a:lnTo>
                      <a:pt x="52" y="132"/>
                    </a:lnTo>
                    <a:lnTo>
                      <a:pt x="14" y="150"/>
                    </a:lnTo>
                    <a:lnTo>
                      <a:pt x="0" y="156"/>
                    </a:lnTo>
                    <a:lnTo>
                      <a:pt x="20" y="106"/>
                    </a:lnTo>
                    <a:lnTo>
                      <a:pt x="36" y="84"/>
                    </a:lnTo>
                    <a:lnTo>
                      <a:pt x="56" y="38"/>
                    </a:lnTo>
                    <a:lnTo>
                      <a:pt x="102" y="18"/>
                    </a:lnTo>
                    <a:lnTo>
                      <a:pt x="182" y="0"/>
                    </a:lnTo>
                    <a:lnTo>
                      <a:pt x="208" y="6"/>
                    </a:lnTo>
                    <a:lnTo>
                      <a:pt x="188" y="48"/>
                    </a:lnTo>
                    <a:lnTo>
                      <a:pt x="180" y="94"/>
                    </a:lnTo>
                    <a:lnTo>
                      <a:pt x="188" y="132"/>
                    </a:lnTo>
                    <a:lnTo>
                      <a:pt x="224" y="174"/>
                    </a:lnTo>
                    <a:lnTo>
                      <a:pt x="258" y="210"/>
                    </a:lnTo>
                    <a:lnTo>
                      <a:pt x="318" y="222"/>
                    </a:lnTo>
                    <a:lnTo>
                      <a:pt x="354" y="206"/>
                    </a:lnTo>
                    <a:lnTo>
                      <a:pt x="382" y="198"/>
                    </a:lnTo>
                    <a:lnTo>
                      <a:pt x="412" y="202"/>
                    </a:lnTo>
                    <a:lnTo>
                      <a:pt x="428" y="222"/>
                    </a:lnTo>
                    <a:lnTo>
                      <a:pt x="484" y="240"/>
                    </a:lnTo>
                    <a:lnTo>
                      <a:pt x="486" y="296"/>
                    </a:lnTo>
                    <a:lnTo>
                      <a:pt x="514" y="312"/>
                    </a:lnTo>
                    <a:lnTo>
                      <a:pt x="550" y="336"/>
                    </a:lnTo>
                    <a:lnTo>
                      <a:pt x="558" y="374"/>
                    </a:lnTo>
                    <a:lnTo>
                      <a:pt x="548" y="402"/>
                    </a:lnTo>
                    <a:lnTo>
                      <a:pt x="552" y="426"/>
                    </a:lnTo>
                    <a:lnTo>
                      <a:pt x="590" y="470"/>
                    </a:lnTo>
                    <a:lnTo>
                      <a:pt x="608" y="478"/>
                    </a:lnTo>
                    <a:lnTo>
                      <a:pt x="636" y="440"/>
                    </a:lnTo>
                    <a:lnTo>
                      <a:pt x="660" y="430"/>
                    </a:lnTo>
                    <a:lnTo>
                      <a:pt x="694" y="454"/>
                    </a:lnTo>
                    <a:lnTo>
                      <a:pt x="750" y="456"/>
                    </a:lnTo>
                    <a:lnTo>
                      <a:pt x="776" y="474"/>
                    </a:lnTo>
                    <a:lnTo>
                      <a:pt x="788" y="52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Freeform 37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2202132" y="2956376"/>
                <a:ext cx="1530126" cy="1421780"/>
              </a:xfrm>
              <a:custGeom>
                <a:avLst/>
                <a:gdLst>
                  <a:gd name="T0" fmla="*/ 50 w 1114"/>
                  <a:gd name="T1" fmla="*/ 614 h 1092"/>
                  <a:gd name="T2" fmla="*/ 50 w 1114"/>
                  <a:gd name="T3" fmla="*/ 534 h 1092"/>
                  <a:gd name="T4" fmla="*/ 62 w 1114"/>
                  <a:gd name="T5" fmla="*/ 470 h 1092"/>
                  <a:gd name="T6" fmla="*/ 92 w 1114"/>
                  <a:gd name="T7" fmla="*/ 356 h 1092"/>
                  <a:gd name="T8" fmla="*/ 182 w 1114"/>
                  <a:gd name="T9" fmla="*/ 278 h 1092"/>
                  <a:gd name="T10" fmla="*/ 258 w 1114"/>
                  <a:gd name="T11" fmla="*/ 250 h 1092"/>
                  <a:gd name="T12" fmla="*/ 442 w 1114"/>
                  <a:gd name="T13" fmla="*/ 272 h 1092"/>
                  <a:gd name="T14" fmla="*/ 618 w 1114"/>
                  <a:gd name="T15" fmla="*/ 294 h 1092"/>
                  <a:gd name="T16" fmla="*/ 766 w 1114"/>
                  <a:gd name="T17" fmla="*/ 262 h 1092"/>
                  <a:gd name="T18" fmla="*/ 844 w 1114"/>
                  <a:gd name="T19" fmla="*/ 110 h 1092"/>
                  <a:gd name="T20" fmla="*/ 910 w 1114"/>
                  <a:gd name="T21" fmla="*/ 0 h 1092"/>
                  <a:gd name="T22" fmla="*/ 986 w 1114"/>
                  <a:gd name="T23" fmla="*/ 28 h 1092"/>
                  <a:gd name="T24" fmla="*/ 1052 w 1114"/>
                  <a:gd name="T25" fmla="*/ 64 h 1092"/>
                  <a:gd name="T26" fmla="*/ 1078 w 1114"/>
                  <a:gd name="T27" fmla="*/ 120 h 1092"/>
                  <a:gd name="T28" fmla="*/ 1092 w 1114"/>
                  <a:gd name="T29" fmla="*/ 220 h 1092"/>
                  <a:gd name="T30" fmla="*/ 1068 w 1114"/>
                  <a:gd name="T31" fmla="*/ 264 h 1092"/>
                  <a:gd name="T32" fmla="*/ 1000 w 1114"/>
                  <a:gd name="T33" fmla="*/ 270 h 1092"/>
                  <a:gd name="T34" fmla="*/ 940 w 1114"/>
                  <a:gd name="T35" fmla="*/ 278 h 1092"/>
                  <a:gd name="T36" fmla="*/ 810 w 1114"/>
                  <a:gd name="T37" fmla="*/ 414 h 1092"/>
                  <a:gd name="T38" fmla="*/ 800 w 1114"/>
                  <a:gd name="T39" fmla="*/ 536 h 1092"/>
                  <a:gd name="T40" fmla="*/ 748 w 1114"/>
                  <a:gd name="T41" fmla="*/ 652 h 1092"/>
                  <a:gd name="T42" fmla="*/ 660 w 1114"/>
                  <a:gd name="T43" fmla="*/ 678 h 1092"/>
                  <a:gd name="T44" fmla="*/ 618 w 1114"/>
                  <a:gd name="T45" fmla="*/ 658 h 1092"/>
                  <a:gd name="T46" fmla="*/ 566 w 1114"/>
                  <a:gd name="T47" fmla="*/ 610 h 1092"/>
                  <a:gd name="T48" fmla="*/ 544 w 1114"/>
                  <a:gd name="T49" fmla="*/ 548 h 1092"/>
                  <a:gd name="T50" fmla="*/ 560 w 1114"/>
                  <a:gd name="T51" fmla="*/ 480 h 1092"/>
                  <a:gd name="T52" fmla="*/ 548 w 1114"/>
                  <a:gd name="T53" fmla="*/ 452 h 1092"/>
                  <a:gd name="T54" fmla="*/ 446 w 1114"/>
                  <a:gd name="T55" fmla="*/ 482 h 1092"/>
                  <a:gd name="T56" fmla="*/ 404 w 1114"/>
                  <a:gd name="T57" fmla="*/ 518 h 1092"/>
                  <a:gd name="T58" fmla="*/ 364 w 1114"/>
                  <a:gd name="T59" fmla="*/ 578 h 1092"/>
                  <a:gd name="T60" fmla="*/ 384 w 1114"/>
                  <a:gd name="T61" fmla="*/ 602 h 1092"/>
                  <a:gd name="T62" fmla="*/ 432 w 1114"/>
                  <a:gd name="T63" fmla="*/ 592 h 1092"/>
                  <a:gd name="T64" fmla="*/ 430 w 1114"/>
                  <a:gd name="T65" fmla="*/ 614 h 1092"/>
                  <a:gd name="T66" fmla="*/ 432 w 1114"/>
                  <a:gd name="T67" fmla="*/ 638 h 1092"/>
                  <a:gd name="T68" fmla="*/ 466 w 1114"/>
                  <a:gd name="T69" fmla="*/ 700 h 1092"/>
                  <a:gd name="T70" fmla="*/ 472 w 1114"/>
                  <a:gd name="T71" fmla="*/ 734 h 1092"/>
                  <a:gd name="T72" fmla="*/ 490 w 1114"/>
                  <a:gd name="T73" fmla="*/ 816 h 1092"/>
                  <a:gd name="T74" fmla="*/ 462 w 1114"/>
                  <a:gd name="T75" fmla="*/ 904 h 1092"/>
                  <a:gd name="T76" fmla="*/ 492 w 1114"/>
                  <a:gd name="T77" fmla="*/ 964 h 1092"/>
                  <a:gd name="T78" fmla="*/ 554 w 1114"/>
                  <a:gd name="T79" fmla="*/ 1052 h 1092"/>
                  <a:gd name="T80" fmla="*/ 518 w 1114"/>
                  <a:gd name="T81" fmla="*/ 1092 h 1092"/>
                  <a:gd name="T82" fmla="*/ 258 w 1114"/>
                  <a:gd name="T83" fmla="*/ 1082 h 1092"/>
                  <a:gd name="T84" fmla="*/ 144 w 1114"/>
                  <a:gd name="T85" fmla="*/ 1044 h 1092"/>
                  <a:gd name="T86" fmla="*/ 108 w 1114"/>
                  <a:gd name="T87" fmla="*/ 1008 h 1092"/>
                  <a:gd name="T88" fmla="*/ 88 w 1114"/>
                  <a:gd name="T89" fmla="*/ 960 h 1092"/>
                  <a:gd name="T90" fmla="*/ 112 w 1114"/>
                  <a:gd name="T91" fmla="*/ 884 h 1092"/>
                  <a:gd name="T92" fmla="*/ 194 w 1114"/>
                  <a:gd name="T93" fmla="*/ 858 h 1092"/>
                  <a:gd name="T94" fmla="*/ 232 w 1114"/>
                  <a:gd name="T95" fmla="*/ 818 h 1092"/>
                  <a:gd name="T96" fmla="*/ 230 w 1114"/>
                  <a:gd name="T97" fmla="*/ 770 h 1092"/>
                  <a:gd name="T98" fmla="*/ 204 w 1114"/>
                  <a:gd name="T99" fmla="*/ 742 h 1092"/>
                  <a:gd name="T100" fmla="*/ 168 w 1114"/>
                  <a:gd name="T101" fmla="*/ 734 h 1092"/>
                  <a:gd name="T102" fmla="*/ 178 w 1114"/>
                  <a:gd name="T103" fmla="*/ 678 h 1092"/>
                  <a:gd name="T104" fmla="*/ 212 w 1114"/>
                  <a:gd name="T105" fmla="*/ 622 h 1092"/>
                  <a:gd name="T106" fmla="*/ 298 w 1114"/>
                  <a:gd name="T107" fmla="*/ 630 h 1092"/>
                  <a:gd name="T108" fmla="*/ 360 w 1114"/>
                  <a:gd name="T109" fmla="*/ 646 h 1092"/>
                  <a:gd name="T110" fmla="*/ 350 w 1114"/>
                  <a:gd name="T111" fmla="*/ 622 h 1092"/>
                  <a:gd name="T112" fmla="*/ 286 w 1114"/>
                  <a:gd name="T113" fmla="*/ 600 h 1092"/>
                  <a:gd name="T114" fmla="*/ 194 w 1114"/>
                  <a:gd name="T115" fmla="*/ 600 h 1092"/>
                  <a:gd name="T116" fmla="*/ 154 w 1114"/>
                  <a:gd name="T117" fmla="*/ 660 h 1092"/>
                  <a:gd name="T118" fmla="*/ 122 w 1114"/>
                  <a:gd name="T119" fmla="*/ 720 h 1092"/>
                  <a:gd name="T120" fmla="*/ 94 w 1114"/>
                  <a:gd name="T121" fmla="*/ 700 h 1092"/>
                  <a:gd name="T122" fmla="*/ 10 w 1114"/>
                  <a:gd name="T123" fmla="*/ 648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14" h="1092">
                    <a:moveTo>
                      <a:pt x="0" y="632"/>
                    </a:moveTo>
                    <a:lnTo>
                      <a:pt x="50" y="614"/>
                    </a:lnTo>
                    <a:lnTo>
                      <a:pt x="62" y="572"/>
                    </a:lnTo>
                    <a:lnTo>
                      <a:pt x="50" y="534"/>
                    </a:lnTo>
                    <a:lnTo>
                      <a:pt x="48" y="516"/>
                    </a:lnTo>
                    <a:lnTo>
                      <a:pt x="62" y="470"/>
                    </a:lnTo>
                    <a:lnTo>
                      <a:pt x="74" y="414"/>
                    </a:lnTo>
                    <a:lnTo>
                      <a:pt x="92" y="356"/>
                    </a:lnTo>
                    <a:lnTo>
                      <a:pt x="138" y="318"/>
                    </a:lnTo>
                    <a:lnTo>
                      <a:pt x="182" y="278"/>
                    </a:lnTo>
                    <a:lnTo>
                      <a:pt x="202" y="258"/>
                    </a:lnTo>
                    <a:lnTo>
                      <a:pt x="258" y="250"/>
                    </a:lnTo>
                    <a:lnTo>
                      <a:pt x="350" y="260"/>
                    </a:lnTo>
                    <a:lnTo>
                      <a:pt x="442" y="272"/>
                    </a:lnTo>
                    <a:lnTo>
                      <a:pt x="524" y="288"/>
                    </a:lnTo>
                    <a:lnTo>
                      <a:pt x="618" y="294"/>
                    </a:lnTo>
                    <a:lnTo>
                      <a:pt x="680" y="294"/>
                    </a:lnTo>
                    <a:lnTo>
                      <a:pt x="766" y="262"/>
                    </a:lnTo>
                    <a:lnTo>
                      <a:pt x="818" y="196"/>
                    </a:lnTo>
                    <a:lnTo>
                      <a:pt x="844" y="110"/>
                    </a:lnTo>
                    <a:lnTo>
                      <a:pt x="876" y="18"/>
                    </a:lnTo>
                    <a:lnTo>
                      <a:pt x="910" y="0"/>
                    </a:lnTo>
                    <a:lnTo>
                      <a:pt x="958" y="0"/>
                    </a:lnTo>
                    <a:lnTo>
                      <a:pt x="986" y="28"/>
                    </a:lnTo>
                    <a:lnTo>
                      <a:pt x="1044" y="16"/>
                    </a:lnTo>
                    <a:lnTo>
                      <a:pt x="1052" y="64"/>
                    </a:lnTo>
                    <a:lnTo>
                      <a:pt x="1054" y="90"/>
                    </a:lnTo>
                    <a:lnTo>
                      <a:pt x="1078" y="120"/>
                    </a:lnTo>
                    <a:lnTo>
                      <a:pt x="1114" y="152"/>
                    </a:lnTo>
                    <a:lnTo>
                      <a:pt x="1092" y="220"/>
                    </a:lnTo>
                    <a:lnTo>
                      <a:pt x="1080" y="252"/>
                    </a:lnTo>
                    <a:lnTo>
                      <a:pt x="1068" y="264"/>
                    </a:lnTo>
                    <a:lnTo>
                      <a:pt x="1034" y="264"/>
                    </a:lnTo>
                    <a:lnTo>
                      <a:pt x="1000" y="270"/>
                    </a:lnTo>
                    <a:lnTo>
                      <a:pt x="960" y="270"/>
                    </a:lnTo>
                    <a:lnTo>
                      <a:pt x="940" y="278"/>
                    </a:lnTo>
                    <a:lnTo>
                      <a:pt x="890" y="318"/>
                    </a:lnTo>
                    <a:lnTo>
                      <a:pt x="810" y="414"/>
                    </a:lnTo>
                    <a:lnTo>
                      <a:pt x="806" y="478"/>
                    </a:lnTo>
                    <a:lnTo>
                      <a:pt x="800" y="536"/>
                    </a:lnTo>
                    <a:lnTo>
                      <a:pt x="754" y="638"/>
                    </a:lnTo>
                    <a:lnTo>
                      <a:pt x="748" y="652"/>
                    </a:lnTo>
                    <a:lnTo>
                      <a:pt x="704" y="666"/>
                    </a:lnTo>
                    <a:lnTo>
                      <a:pt x="660" y="678"/>
                    </a:lnTo>
                    <a:lnTo>
                      <a:pt x="634" y="670"/>
                    </a:lnTo>
                    <a:lnTo>
                      <a:pt x="618" y="658"/>
                    </a:lnTo>
                    <a:lnTo>
                      <a:pt x="590" y="640"/>
                    </a:lnTo>
                    <a:lnTo>
                      <a:pt x="566" y="610"/>
                    </a:lnTo>
                    <a:lnTo>
                      <a:pt x="552" y="586"/>
                    </a:lnTo>
                    <a:lnTo>
                      <a:pt x="544" y="548"/>
                    </a:lnTo>
                    <a:lnTo>
                      <a:pt x="542" y="512"/>
                    </a:lnTo>
                    <a:lnTo>
                      <a:pt x="560" y="480"/>
                    </a:lnTo>
                    <a:lnTo>
                      <a:pt x="570" y="456"/>
                    </a:lnTo>
                    <a:lnTo>
                      <a:pt x="548" y="452"/>
                    </a:lnTo>
                    <a:lnTo>
                      <a:pt x="498" y="464"/>
                    </a:lnTo>
                    <a:lnTo>
                      <a:pt x="446" y="482"/>
                    </a:lnTo>
                    <a:lnTo>
                      <a:pt x="420" y="482"/>
                    </a:lnTo>
                    <a:lnTo>
                      <a:pt x="404" y="518"/>
                    </a:lnTo>
                    <a:lnTo>
                      <a:pt x="384" y="550"/>
                    </a:lnTo>
                    <a:lnTo>
                      <a:pt x="364" y="578"/>
                    </a:lnTo>
                    <a:lnTo>
                      <a:pt x="354" y="608"/>
                    </a:lnTo>
                    <a:lnTo>
                      <a:pt x="384" y="602"/>
                    </a:lnTo>
                    <a:lnTo>
                      <a:pt x="408" y="590"/>
                    </a:lnTo>
                    <a:lnTo>
                      <a:pt x="432" y="592"/>
                    </a:lnTo>
                    <a:lnTo>
                      <a:pt x="462" y="606"/>
                    </a:lnTo>
                    <a:lnTo>
                      <a:pt x="430" y="614"/>
                    </a:lnTo>
                    <a:lnTo>
                      <a:pt x="418" y="616"/>
                    </a:lnTo>
                    <a:lnTo>
                      <a:pt x="432" y="638"/>
                    </a:lnTo>
                    <a:lnTo>
                      <a:pt x="462" y="658"/>
                    </a:lnTo>
                    <a:lnTo>
                      <a:pt x="466" y="700"/>
                    </a:lnTo>
                    <a:lnTo>
                      <a:pt x="466" y="714"/>
                    </a:lnTo>
                    <a:lnTo>
                      <a:pt x="472" y="734"/>
                    </a:lnTo>
                    <a:lnTo>
                      <a:pt x="478" y="772"/>
                    </a:lnTo>
                    <a:lnTo>
                      <a:pt x="490" y="816"/>
                    </a:lnTo>
                    <a:lnTo>
                      <a:pt x="482" y="854"/>
                    </a:lnTo>
                    <a:lnTo>
                      <a:pt x="462" y="904"/>
                    </a:lnTo>
                    <a:lnTo>
                      <a:pt x="472" y="928"/>
                    </a:lnTo>
                    <a:lnTo>
                      <a:pt x="492" y="964"/>
                    </a:lnTo>
                    <a:lnTo>
                      <a:pt x="518" y="996"/>
                    </a:lnTo>
                    <a:lnTo>
                      <a:pt x="554" y="1052"/>
                    </a:lnTo>
                    <a:lnTo>
                      <a:pt x="588" y="1092"/>
                    </a:lnTo>
                    <a:lnTo>
                      <a:pt x="518" y="1092"/>
                    </a:lnTo>
                    <a:lnTo>
                      <a:pt x="422" y="1086"/>
                    </a:lnTo>
                    <a:lnTo>
                      <a:pt x="258" y="1082"/>
                    </a:lnTo>
                    <a:lnTo>
                      <a:pt x="154" y="1076"/>
                    </a:lnTo>
                    <a:lnTo>
                      <a:pt x="144" y="1044"/>
                    </a:lnTo>
                    <a:lnTo>
                      <a:pt x="132" y="1012"/>
                    </a:lnTo>
                    <a:lnTo>
                      <a:pt x="108" y="1008"/>
                    </a:lnTo>
                    <a:lnTo>
                      <a:pt x="92" y="994"/>
                    </a:lnTo>
                    <a:lnTo>
                      <a:pt x="88" y="960"/>
                    </a:lnTo>
                    <a:lnTo>
                      <a:pt x="96" y="912"/>
                    </a:lnTo>
                    <a:lnTo>
                      <a:pt x="112" y="884"/>
                    </a:lnTo>
                    <a:lnTo>
                      <a:pt x="146" y="872"/>
                    </a:lnTo>
                    <a:lnTo>
                      <a:pt x="194" y="858"/>
                    </a:lnTo>
                    <a:lnTo>
                      <a:pt x="204" y="834"/>
                    </a:lnTo>
                    <a:lnTo>
                      <a:pt x="232" y="818"/>
                    </a:lnTo>
                    <a:lnTo>
                      <a:pt x="214" y="798"/>
                    </a:lnTo>
                    <a:lnTo>
                      <a:pt x="230" y="770"/>
                    </a:lnTo>
                    <a:lnTo>
                      <a:pt x="224" y="752"/>
                    </a:lnTo>
                    <a:lnTo>
                      <a:pt x="204" y="742"/>
                    </a:lnTo>
                    <a:lnTo>
                      <a:pt x="184" y="734"/>
                    </a:lnTo>
                    <a:lnTo>
                      <a:pt x="168" y="734"/>
                    </a:lnTo>
                    <a:lnTo>
                      <a:pt x="162" y="704"/>
                    </a:lnTo>
                    <a:lnTo>
                      <a:pt x="178" y="678"/>
                    </a:lnTo>
                    <a:lnTo>
                      <a:pt x="208" y="644"/>
                    </a:lnTo>
                    <a:lnTo>
                      <a:pt x="212" y="622"/>
                    </a:lnTo>
                    <a:lnTo>
                      <a:pt x="242" y="616"/>
                    </a:lnTo>
                    <a:lnTo>
                      <a:pt x="298" y="630"/>
                    </a:lnTo>
                    <a:lnTo>
                      <a:pt x="332" y="644"/>
                    </a:lnTo>
                    <a:lnTo>
                      <a:pt x="360" y="646"/>
                    </a:lnTo>
                    <a:lnTo>
                      <a:pt x="394" y="630"/>
                    </a:lnTo>
                    <a:lnTo>
                      <a:pt x="350" y="622"/>
                    </a:lnTo>
                    <a:lnTo>
                      <a:pt x="318" y="608"/>
                    </a:lnTo>
                    <a:lnTo>
                      <a:pt x="286" y="600"/>
                    </a:lnTo>
                    <a:cubicBezTo>
                      <a:pt x="272" y="593"/>
                      <a:pt x="258" y="588"/>
                      <a:pt x="242" y="588"/>
                    </a:cubicBezTo>
                    <a:lnTo>
                      <a:pt x="194" y="600"/>
                    </a:lnTo>
                    <a:lnTo>
                      <a:pt x="174" y="638"/>
                    </a:lnTo>
                    <a:lnTo>
                      <a:pt x="154" y="660"/>
                    </a:lnTo>
                    <a:lnTo>
                      <a:pt x="130" y="692"/>
                    </a:lnTo>
                    <a:lnTo>
                      <a:pt x="122" y="720"/>
                    </a:lnTo>
                    <a:lnTo>
                      <a:pt x="108" y="722"/>
                    </a:lnTo>
                    <a:lnTo>
                      <a:pt x="94" y="700"/>
                    </a:lnTo>
                    <a:lnTo>
                      <a:pt x="60" y="668"/>
                    </a:lnTo>
                    <a:lnTo>
                      <a:pt x="10" y="648"/>
                    </a:lnTo>
                    <a:lnTo>
                      <a:pt x="0" y="632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lIns="72000" anchor="ctr" anchorCtr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266700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38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2383439" y="2884965"/>
                <a:ext cx="1016418" cy="457577"/>
              </a:xfrm>
              <a:custGeom>
                <a:avLst/>
                <a:gdLst>
                  <a:gd name="T0" fmla="*/ 50 w 740"/>
                  <a:gd name="T1" fmla="*/ 320 h 346"/>
                  <a:gd name="T2" fmla="*/ 14 w 740"/>
                  <a:gd name="T3" fmla="*/ 298 h 346"/>
                  <a:gd name="T4" fmla="*/ 0 w 740"/>
                  <a:gd name="T5" fmla="*/ 274 h 346"/>
                  <a:gd name="T6" fmla="*/ 20 w 740"/>
                  <a:gd name="T7" fmla="*/ 232 h 346"/>
                  <a:gd name="T8" fmla="*/ 36 w 740"/>
                  <a:gd name="T9" fmla="*/ 194 h 346"/>
                  <a:gd name="T10" fmla="*/ 42 w 740"/>
                  <a:gd name="T11" fmla="*/ 166 h 346"/>
                  <a:gd name="T12" fmla="*/ 30 w 740"/>
                  <a:gd name="T13" fmla="*/ 138 h 346"/>
                  <a:gd name="T14" fmla="*/ 14 w 740"/>
                  <a:gd name="T15" fmla="*/ 114 h 346"/>
                  <a:gd name="T16" fmla="*/ 12 w 740"/>
                  <a:gd name="T17" fmla="*/ 88 h 346"/>
                  <a:gd name="T18" fmla="*/ 44 w 740"/>
                  <a:gd name="T19" fmla="*/ 80 h 346"/>
                  <a:gd name="T20" fmla="*/ 92 w 740"/>
                  <a:gd name="T21" fmla="*/ 56 h 346"/>
                  <a:gd name="T22" fmla="*/ 134 w 740"/>
                  <a:gd name="T23" fmla="*/ 22 h 346"/>
                  <a:gd name="T24" fmla="*/ 202 w 740"/>
                  <a:gd name="T25" fmla="*/ 8 h 346"/>
                  <a:gd name="T26" fmla="*/ 266 w 740"/>
                  <a:gd name="T27" fmla="*/ 0 h 346"/>
                  <a:gd name="T28" fmla="*/ 358 w 740"/>
                  <a:gd name="T29" fmla="*/ 22 h 346"/>
                  <a:gd name="T30" fmla="*/ 412 w 740"/>
                  <a:gd name="T31" fmla="*/ 36 h 346"/>
                  <a:gd name="T32" fmla="*/ 468 w 740"/>
                  <a:gd name="T33" fmla="*/ 34 h 346"/>
                  <a:gd name="T34" fmla="*/ 536 w 740"/>
                  <a:gd name="T35" fmla="*/ 48 h 346"/>
                  <a:gd name="T36" fmla="*/ 648 w 740"/>
                  <a:gd name="T37" fmla="*/ 56 h 346"/>
                  <a:gd name="T38" fmla="*/ 740 w 740"/>
                  <a:gd name="T39" fmla="*/ 76 h 346"/>
                  <a:gd name="T40" fmla="*/ 728 w 740"/>
                  <a:gd name="T41" fmla="*/ 120 h 346"/>
                  <a:gd name="T42" fmla="*/ 698 w 740"/>
                  <a:gd name="T43" fmla="*/ 200 h 346"/>
                  <a:gd name="T44" fmla="*/ 678 w 740"/>
                  <a:gd name="T45" fmla="*/ 262 h 346"/>
                  <a:gd name="T46" fmla="*/ 634 w 740"/>
                  <a:gd name="T47" fmla="*/ 308 h 346"/>
                  <a:gd name="T48" fmla="*/ 572 w 740"/>
                  <a:gd name="T49" fmla="*/ 340 h 346"/>
                  <a:gd name="T50" fmla="*/ 514 w 740"/>
                  <a:gd name="T51" fmla="*/ 346 h 346"/>
                  <a:gd name="T52" fmla="*/ 410 w 740"/>
                  <a:gd name="T53" fmla="*/ 342 h 346"/>
                  <a:gd name="T54" fmla="*/ 326 w 740"/>
                  <a:gd name="T55" fmla="*/ 328 h 346"/>
                  <a:gd name="T56" fmla="*/ 238 w 740"/>
                  <a:gd name="T57" fmla="*/ 316 h 346"/>
                  <a:gd name="T58" fmla="*/ 174 w 740"/>
                  <a:gd name="T59" fmla="*/ 308 h 346"/>
                  <a:gd name="T60" fmla="*/ 128 w 740"/>
                  <a:gd name="T61" fmla="*/ 304 h 346"/>
                  <a:gd name="T62" fmla="*/ 86 w 740"/>
                  <a:gd name="T63" fmla="*/ 308 h 346"/>
                  <a:gd name="T64" fmla="*/ 50 w 740"/>
                  <a:gd name="T65" fmla="*/ 320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40" h="346">
                    <a:moveTo>
                      <a:pt x="50" y="320"/>
                    </a:moveTo>
                    <a:lnTo>
                      <a:pt x="14" y="298"/>
                    </a:lnTo>
                    <a:lnTo>
                      <a:pt x="0" y="274"/>
                    </a:lnTo>
                    <a:lnTo>
                      <a:pt x="20" y="232"/>
                    </a:lnTo>
                    <a:lnTo>
                      <a:pt x="36" y="194"/>
                    </a:lnTo>
                    <a:lnTo>
                      <a:pt x="42" y="166"/>
                    </a:lnTo>
                    <a:lnTo>
                      <a:pt x="30" y="138"/>
                    </a:lnTo>
                    <a:lnTo>
                      <a:pt x="14" y="114"/>
                    </a:lnTo>
                    <a:lnTo>
                      <a:pt x="12" y="88"/>
                    </a:lnTo>
                    <a:lnTo>
                      <a:pt x="44" y="80"/>
                    </a:lnTo>
                    <a:lnTo>
                      <a:pt x="92" y="56"/>
                    </a:lnTo>
                    <a:lnTo>
                      <a:pt x="134" y="22"/>
                    </a:lnTo>
                    <a:lnTo>
                      <a:pt x="202" y="8"/>
                    </a:lnTo>
                    <a:lnTo>
                      <a:pt x="266" y="0"/>
                    </a:lnTo>
                    <a:lnTo>
                      <a:pt x="358" y="22"/>
                    </a:lnTo>
                    <a:lnTo>
                      <a:pt x="412" y="36"/>
                    </a:lnTo>
                    <a:lnTo>
                      <a:pt x="468" y="34"/>
                    </a:lnTo>
                    <a:lnTo>
                      <a:pt x="536" y="48"/>
                    </a:lnTo>
                    <a:lnTo>
                      <a:pt x="648" y="56"/>
                    </a:lnTo>
                    <a:lnTo>
                      <a:pt x="740" y="76"/>
                    </a:lnTo>
                    <a:lnTo>
                      <a:pt x="728" y="120"/>
                    </a:lnTo>
                    <a:lnTo>
                      <a:pt x="698" y="200"/>
                    </a:lnTo>
                    <a:lnTo>
                      <a:pt x="678" y="262"/>
                    </a:lnTo>
                    <a:lnTo>
                      <a:pt x="634" y="308"/>
                    </a:lnTo>
                    <a:lnTo>
                      <a:pt x="572" y="340"/>
                    </a:lnTo>
                    <a:lnTo>
                      <a:pt x="514" y="346"/>
                    </a:lnTo>
                    <a:lnTo>
                      <a:pt x="410" y="342"/>
                    </a:lnTo>
                    <a:lnTo>
                      <a:pt x="326" y="328"/>
                    </a:lnTo>
                    <a:lnTo>
                      <a:pt x="238" y="316"/>
                    </a:lnTo>
                    <a:lnTo>
                      <a:pt x="174" y="308"/>
                    </a:lnTo>
                    <a:lnTo>
                      <a:pt x="128" y="304"/>
                    </a:lnTo>
                    <a:lnTo>
                      <a:pt x="86" y="308"/>
                    </a:lnTo>
                    <a:lnTo>
                      <a:pt x="50" y="32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anchor="ctr" anchorCtr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42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897206" y="2324240"/>
                <a:ext cx="1126299" cy="1473239"/>
              </a:xfrm>
              <a:custGeom>
                <a:avLst/>
                <a:gdLst>
                  <a:gd name="T0" fmla="*/ 368 w 820"/>
                  <a:gd name="T1" fmla="*/ 44 h 1114"/>
                  <a:gd name="T2" fmla="*/ 288 w 820"/>
                  <a:gd name="T3" fmla="*/ 152 h 1114"/>
                  <a:gd name="T4" fmla="*/ 250 w 820"/>
                  <a:gd name="T5" fmla="*/ 250 h 1114"/>
                  <a:gd name="T6" fmla="*/ 194 w 820"/>
                  <a:gd name="T7" fmla="*/ 292 h 1114"/>
                  <a:gd name="T8" fmla="*/ 146 w 820"/>
                  <a:gd name="T9" fmla="*/ 336 h 1114"/>
                  <a:gd name="T10" fmla="*/ 120 w 820"/>
                  <a:gd name="T11" fmla="*/ 378 h 1114"/>
                  <a:gd name="T12" fmla="*/ 30 w 820"/>
                  <a:gd name="T13" fmla="*/ 438 h 1114"/>
                  <a:gd name="T14" fmla="*/ 22 w 820"/>
                  <a:gd name="T15" fmla="*/ 502 h 1114"/>
                  <a:gd name="T16" fmla="*/ 82 w 820"/>
                  <a:gd name="T17" fmla="*/ 590 h 1114"/>
                  <a:gd name="T18" fmla="*/ 90 w 820"/>
                  <a:gd name="T19" fmla="*/ 718 h 1114"/>
                  <a:gd name="T20" fmla="*/ 42 w 820"/>
                  <a:gd name="T21" fmla="*/ 810 h 1114"/>
                  <a:gd name="T22" fmla="*/ 92 w 820"/>
                  <a:gd name="T23" fmla="*/ 852 h 1114"/>
                  <a:gd name="T24" fmla="*/ 150 w 820"/>
                  <a:gd name="T25" fmla="*/ 914 h 1114"/>
                  <a:gd name="T26" fmla="*/ 182 w 820"/>
                  <a:gd name="T27" fmla="*/ 1034 h 1114"/>
                  <a:gd name="T28" fmla="*/ 238 w 820"/>
                  <a:gd name="T29" fmla="*/ 1102 h 1114"/>
                  <a:gd name="T30" fmla="*/ 282 w 820"/>
                  <a:gd name="T31" fmla="*/ 1052 h 1114"/>
                  <a:gd name="T32" fmla="*/ 284 w 820"/>
                  <a:gd name="T33" fmla="*/ 934 h 1114"/>
                  <a:gd name="T34" fmla="*/ 324 w 820"/>
                  <a:gd name="T35" fmla="*/ 824 h 1114"/>
                  <a:gd name="T36" fmla="*/ 410 w 820"/>
                  <a:gd name="T37" fmla="*/ 746 h 1114"/>
                  <a:gd name="T38" fmla="*/ 358 w 820"/>
                  <a:gd name="T39" fmla="*/ 710 h 1114"/>
                  <a:gd name="T40" fmla="*/ 370 w 820"/>
                  <a:gd name="T41" fmla="*/ 660 h 1114"/>
                  <a:gd name="T42" fmla="*/ 394 w 820"/>
                  <a:gd name="T43" fmla="*/ 586 h 1114"/>
                  <a:gd name="T44" fmla="*/ 362 w 820"/>
                  <a:gd name="T45" fmla="*/ 510 h 1114"/>
                  <a:gd name="T46" fmla="*/ 446 w 820"/>
                  <a:gd name="T47" fmla="*/ 474 h 1114"/>
                  <a:gd name="T48" fmla="*/ 576 w 820"/>
                  <a:gd name="T49" fmla="*/ 428 h 1114"/>
                  <a:gd name="T50" fmla="*/ 678 w 820"/>
                  <a:gd name="T51" fmla="*/ 440 h 1114"/>
                  <a:gd name="T52" fmla="*/ 820 w 820"/>
                  <a:gd name="T53" fmla="*/ 456 h 1114"/>
                  <a:gd name="T54" fmla="*/ 816 w 820"/>
                  <a:gd name="T55" fmla="*/ 288 h 1114"/>
                  <a:gd name="T56" fmla="*/ 700 w 820"/>
                  <a:gd name="T57" fmla="*/ 208 h 1114"/>
                  <a:gd name="T58" fmla="*/ 634 w 820"/>
                  <a:gd name="T59" fmla="*/ 144 h 1114"/>
                  <a:gd name="T60" fmla="*/ 576 w 820"/>
                  <a:gd name="T61" fmla="*/ 192 h 1114"/>
                  <a:gd name="T62" fmla="*/ 538 w 820"/>
                  <a:gd name="T63" fmla="*/ 230 h 1114"/>
                  <a:gd name="T64" fmla="*/ 428 w 820"/>
                  <a:gd name="T65" fmla="*/ 252 h 1114"/>
                  <a:gd name="T66" fmla="*/ 354 w 820"/>
                  <a:gd name="T67" fmla="*/ 198 h 1114"/>
                  <a:gd name="T68" fmla="*/ 406 w 820"/>
                  <a:gd name="T69" fmla="*/ 106 h 1114"/>
                  <a:gd name="T70" fmla="*/ 420 w 820"/>
                  <a:gd name="T71" fmla="*/ 0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20" h="1114">
                    <a:moveTo>
                      <a:pt x="420" y="0"/>
                    </a:moveTo>
                    <a:lnTo>
                      <a:pt x="368" y="44"/>
                    </a:lnTo>
                    <a:lnTo>
                      <a:pt x="322" y="104"/>
                    </a:lnTo>
                    <a:lnTo>
                      <a:pt x="288" y="152"/>
                    </a:lnTo>
                    <a:lnTo>
                      <a:pt x="262" y="210"/>
                    </a:lnTo>
                    <a:lnTo>
                      <a:pt x="250" y="250"/>
                    </a:lnTo>
                    <a:lnTo>
                      <a:pt x="230" y="270"/>
                    </a:lnTo>
                    <a:lnTo>
                      <a:pt x="194" y="292"/>
                    </a:lnTo>
                    <a:lnTo>
                      <a:pt x="180" y="310"/>
                    </a:lnTo>
                    <a:lnTo>
                      <a:pt x="146" y="336"/>
                    </a:lnTo>
                    <a:lnTo>
                      <a:pt x="126" y="358"/>
                    </a:lnTo>
                    <a:lnTo>
                      <a:pt x="120" y="378"/>
                    </a:lnTo>
                    <a:lnTo>
                      <a:pt x="80" y="396"/>
                    </a:lnTo>
                    <a:lnTo>
                      <a:pt x="30" y="438"/>
                    </a:lnTo>
                    <a:lnTo>
                      <a:pt x="0" y="476"/>
                    </a:lnTo>
                    <a:lnTo>
                      <a:pt x="22" y="502"/>
                    </a:lnTo>
                    <a:lnTo>
                      <a:pt x="58" y="542"/>
                    </a:lnTo>
                    <a:lnTo>
                      <a:pt x="82" y="590"/>
                    </a:lnTo>
                    <a:lnTo>
                      <a:pt x="90" y="658"/>
                    </a:lnTo>
                    <a:lnTo>
                      <a:pt x="90" y="718"/>
                    </a:lnTo>
                    <a:lnTo>
                      <a:pt x="66" y="776"/>
                    </a:lnTo>
                    <a:lnTo>
                      <a:pt x="42" y="810"/>
                    </a:lnTo>
                    <a:lnTo>
                      <a:pt x="60" y="834"/>
                    </a:lnTo>
                    <a:lnTo>
                      <a:pt x="92" y="852"/>
                    </a:lnTo>
                    <a:lnTo>
                      <a:pt x="132" y="872"/>
                    </a:lnTo>
                    <a:lnTo>
                      <a:pt x="150" y="914"/>
                    </a:lnTo>
                    <a:lnTo>
                      <a:pt x="162" y="1006"/>
                    </a:lnTo>
                    <a:lnTo>
                      <a:pt x="182" y="1034"/>
                    </a:lnTo>
                    <a:lnTo>
                      <a:pt x="212" y="1114"/>
                    </a:lnTo>
                    <a:lnTo>
                      <a:pt x="238" y="1102"/>
                    </a:lnTo>
                    <a:lnTo>
                      <a:pt x="270" y="1090"/>
                    </a:lnTo>
                    <a:lnTo>
                      <a:pt x="282" y="1052"/>
                    </a:lnTo>
                    <a:lnTo>
                      <a:pt x="270" y="1002"/>
                    </a:lnTo>
                    <a:lnTo>
                      <a:pt x="284" y="934"/>
                    </a:lnTo>
                    <a:lnTo>
                      <a:pt x="304" y="856"/>
                    </a:lnTo>
                    <a:lnTo>
                      <a:pt x="324" y="824"/>
                    </a:lnTo>
                    <a:lnTo>
                      <a:pt x="384" y="774"/>
                    </a:lnTo>
                    <a:lnTo>
                      <a:pt x="410" y="746"/>
                    </a:lnTo>
                    <a:lnTo>
                      <a:pt x="382" y="724"/>
                    </a:lnTo>
                    <a:lnTo>
                      <a:pt x="358" y="710"/>
                    </a:lnTo>
                    <a:lnTo>
                      <a:pt x="356" y="688"/>
                    </a:lnTo>
                    <a:lnTo>
                      <a:pt x="370" y="660"/>
                    </a:lnTo>
                    <a:lnTo>
                      <a:pt x="392" y="626"/>
                    </a:lnTo>
                    <a:lnTo>
                      <a:pt x="394" y="586"/>
                    </a:lnTo>
                    <a:lnTo>
                      <a:pt x="376" y="546"/>
                    </a:lnTo>
                    <a:lnTo>
                      <a:pt x="362" y="510"/>
                    </a:lnTo>
                    <a:lnTo>
                      <a:pt x="392" y="504"/>
                    </a:lnTo>
                    <a:lnTo>
                      <a:pt x="446" y="474"/>
                    </a:lnTo>
                    <a:lnTo>
                      <a:pt x="486" y="444"/>
                    </a:lnTo>
                    <a:lnTo>
                      <a:pt x="576" y="428"/>
                    </a:lnTo>
                    <a:lnTo>
                      <a:pt x="620" y="424"/>
                    </a:lnTo>
                    <a:lnTo>
                      <a:pt x="678" y="440"/>
                    </a:lnTo>
                    <a:lnTo>
                      <a:pt x="766" y="456"/>
                    </a:lnTo>
                    <a:lnTo>
                      <a:pt x="820" y="456"/>
                    </a:lnTo>
                    <a:lnTo>
                      <a:pt x="812" y="404"/>
                    </a:lnTo>
                    <a:lnTo>
                      <a:pt x="816" y="288"/>
                    </a:lnTo>
                    <a:lnTo>
                      <a:pt x="774" y="256"/>
                    </a:lnTo>
                    <a:lnTo>
                      <a:pt x="700" y="208"/>
                    </a:lnTo>
                    <a:lnTo>
                      <a:pt x="664" y="122"/>
                    </a:lnTo>
                    <a:lnTo>
                      <a:pt x="634" y="144"/>
                    </a:lnTo>
                    <a:lnTo>
                      <a:pt x="604" y="168"/>
                    </a:lnTo>
                    <a:lnTo>
                      <a:pt x="576" y="192"/>
                    </a:lnTo>
                    <a:lnTo>
                      <a:pt x="558" y="210"/>
                    </a:lnTo>
                    <a:lnTo>
                      <a:pt x="538" y="230"/>
                    </a:lnTo>
                    <a:lnTo>
                      <a:pt x="482" y="280"/>
                    </a:lnTo>
                    <a:lnTo>
                      <a:pt x="428" y="252"/>
                    </a:lnTo>
                    <a:lnTo>
                      <a:pt x="386" y="230"/>
                    </a:lnTo>
                    <a:lnTo>
                      <a:pt x="354" y="198"/>
                    </a:lnTo>
                    <a:lnTo>
                      <a:pt x="354" y="174"/>
                    </a:lnTo>
                    <a:lnTo>
                      <a:pt x="406" y="106"/>
                    </a:lnTo>
                    <a:lnTo>
                      <a:pt x="432" y="50"/>
                    </a:lnTo>
                    <a:lnTo>
                      <a:pt x="420" y="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lIns="144000" anchor="ctr" anchorCtr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43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537340" y="2956377"/>
                <a:ext cx="486236" cy="444354"/>
              </a:xfrm>
              <a:custGeom>
                <a:avLst/>
                <a:gdLst>
                  <a:gd name="T0" fmla="*/ 256 w 354"/>
                  <a:gd name="T1" fmla="*/ 0 h 336"/>
                  <a:gd name="T2" fmla="*/ 188 w 354"/>
                  <a:gd name="T3" fmla="*/ 30 h 336"/>
                  <a:gd name="T4" fmla="*/ 140 w 354"/>
                  <a:gd name="T5" fmla="*/ 62 h 336"/>
                  <a:gd name="T6" fmla="*/ 108 w 354"/>
                  <a:gd name="T7" fmla="*/ 94 h 336"/>
                  <a:gd name="T8" fmla="*/ 52 w 354"/>
                  <a:gd name="T9" fmla="*/ 102 h 336"/>
                  <a:gd name="T10" fmla="*/ 10 w 354"/>
                  <a:gd name="T11" fmla="*/ 108 h 336"/>
                  <a:gd name="T12" fmla="*/ 0 w 354"/>
                  <a:gd name="T13" fmla="*/ 132 h 336"/>
                  <a:gd name="T14" fmla="*/ 68 w 354"/>
                  <a:gd name="T15" fmla="*/ 208 h 336"/>
                  <a:gd name="T16" fmla="*/ 90 w 354"/>
                  <a:gd name="T17" fmla="*/ 210 h 336"/>
                  <a:gd name="T18" fmla="*/ 118 w 354"/>
                  <a:gd name="T19" fmla="*/ 156 h 336"/>
                  <a:gd name="T20" fmla="*/ 124 w 354"/>
                  <a:gd name="T21" fmla="*/ 130 h 336"/>
                  <a:gd name="T22" fmla="*/ 194 w 354"/>
                  <a:gd name="T23" fmla="*/ 156 h 336"/>
                  <a:gd name="T24" fmla="*/ 230 w 354"/>
                  <a:gd name="T25" fmla="*/ 172 h 336"/>
                  <a:gd name="T26" fmla="*/ 248 w 354"/>
                  <a:gd name="T27" fmla="*/ 210 h 336"/>
                  <a:gd name="T28" fmla="*/ 258 w 354"/>
                  <a:gd name="T29" fmla="*/ 268 h 336"/>
                  <a:gd name="T30" fmla="*/ 290 w 354"/>
                  <a:gd name="T31" fmla="*/ 320 h 336"/>
                  <a:gd name="T32" fmla="*/ 304 w 354"/>
                  <a:gd name="T33" fmla="*/ 336 h 336"/>
                  <a:gd name="T34" fmla="*/ 328 w 354"/>
                  <a:gd name="T35" fmla="*/ 294 h 336"/>
                  <a:gd name="T36" fmla="*/ 354 w 354"/>
                  <a:gd name="T37" fmla="*/ 242 h 336"/>
                  <a:gd name="T38" fmla="*/ 354 w 354"/>
                  <a:gd name="T39" fmla="*/ 156 h 336"/>
                  <a:gd name="T40" fmla="*/ 334 w 354"/>
                  <a:gd name="T41" fmla="*/ 78 h 336"/>
                  <a:gd name="T42" fmla="*/ 284 w 354"/>
                  <a:gd name="T43" fmla="*/ 16 h 336"/>
                  <a:gd name="T44" fmla="*/ 256 w 354"/>
                  <a:gd name="T45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54" h="336">
                    <a:moveTo>
                      <a:pt x="256" y="0"/>
                    </a:moveTo>
                    <a:lnTo>
                      <a:pt x="188" y="30"/>
                    </a:lnTo>
                    <a:lnTo>
                      <a:pt x="140" y="62"/>
                    </a:lnTo>
                    <a:lnTo>
                      <a:pt x="108" y="94"/>
                    </a:lnTo>
                    <a:lnTo>
                      <a:pt x="52" y="102"/>
                    </a:lnTo>
                    <a:lnTo>
                      <a:pt x="10" y="108"/>
                    </a:lnTo>
                    <a:lnTo>
                      <a:pt x="0" y="132"/>
                    </a:lnTo>
                    <a:lnTo>
                      <a:pt x="68" y="208"/>
                    </a:lnTo>
                    <a:lnTo>
                      <a:pt x="90" y="210"/>
                    </a:lnTo>
                    <a:lnTo>
                      <a:pt x="118" y="156"/>
                    </a:lnTo>
                    <a:lnTo>
                      <a:pt x="124" y="130"/>
                    </a:lnTo>
                    <a:lnTo>
                      <a:pt x="194" y="156"/>
                    </a:lnTo>
                    <a:lnTo>
                      <a:pt x="230" y="172"/>
                    </a:lnTo>
                    <a:lnTo>
                      <a:pt x="248" y="210"/>
                    </a:lnTo>
                    <a:lnTo>
                      <a:pt x="258" y="268"/>
                    </a:lnTo>
                    <a:lnTo>
                      <a:pt x="290" y="320"/>
                    </a:lnTo>
                    <a:lnTo>
                      <a:pt x="304" y="336"/>
                    </a:lnTo>
                    <a:lnTo>
                      <a:pt x="328" y="294"/>
                    </a:lnTo>
                    <a:lnTo>
                      <a:pt x="354" y="242"/>
                    </a:lnTo>
                    <a:lnTo>
                      <a:pt x="354" y="156"/>
                    </a:lnTo>
                    <a:lnTo>
                      <a:pt x="334" y="78"/>
                    </a:lnTo>
                    <a:lnTo>
                      <a:pt x="284" y="16"/>
                    </a:lnTo>
                    <a:lnTo>
                      <a:pt x="256" y="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square" anchor="ctr" anchorCtr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0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Ellipse 20"/>
            <p:cNvSpPr/>
            <p:nvPr/>
          </p:nvSpPr>
          <p:spPr>
            <a:xfrm>
              <a:off x="4029046" y="1281555"/>
              <a:ext cx="139686" cy="14751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212921" y="6047737"/>
              <a:ext cx="139686" cy="14751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" name="Ellipse 24"/>
            <p:cNvSpPr/>
            <p:nvPr/>
          </p:nvSpPr>
          <p:spPr>
            <a:xfrm>
              <a:off x="4337818" y="5591409"/>
              <a:ext cx="139686" cy="14751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00866" y="6258696"/>
              <a:ext cx="1317546" cy="307777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fr-CA" sz="1400" dirty="0" smtClean="0">
                  <a:latin typeface="Century Gothic" panose="020B0502020202020204" pitchFamily="34" charset="0"/>
                </a:rPr>
                <a:t>Cap-</a:t>
              </a:r>
              <a:r>
                <a:rPr lang="fr-CA" sz="1400" dirty="0" err="1" smtClean="0">
                  <a:latin typeface="Century Gothic" panose="020B0502020202020204" pitchFamily="34" charset="0"/>
                </a:rPr>
                <a:t>Skirring</a:t>
              </a:r>
              <a:endParaRPr lang="fr-CA" sz="1600" dirty="0">
                <a:latin typeface="Century Gothic" panose="020B0502020202020204" pitchFamily="34" charset="0"/>
              </a:endParaRPr>
            </a:p>
          </p:txBody>
        </p:sp>
        <p:sp>
          <p:nvSpPr>
            <p:cNvPr id="28" name="ZoneTexte 27"/>
            <p:cNvSpPr txBox="1"/>
            <p:nvPr/>
          </p:nvSpPr>
          <p:spPr>
            <a:xfrm>
              <a:off x="4446674" y="5222606"/>
              <a:ext cx="897745" cy="307777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fr-CA" sz="1400" dirty="0" err="1" smtClean="0">
                  <a:latin typeface="Century Gothic" panose="020B0502020202020204" pitchFamily="34" charset="0"/>
                </a:rPr>
                <a:t>Sédhiou</a:t>
              </a:r>
              <a:endParaRPr lang="fr-CA"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4219244" y="1088797"/>
              <a:ext cx="731518" cy="307777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fr-CA" sz="1400" dirty="0" smtClean="0">
                  <a:latin typeface="Century Gothic" panose="020B0502020202020204" pitchFamily="34" charset="0"/>
                </a:rPr>
                <a:t>Podor</a:t>
              </a:r>
              <a:endParaRPr lang="fr-CA" sz="1200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101" name="Shape 738"/>
          <p:cNvSpPr txBox="1"/>
          <p:nvPr/>
        </p:nvSpPr>
        <p:spPr>
          <a:xfrm>
            <a:off x="1645016" y="177800"/>
            <a:ext cx="9928916" cy="52321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fr-CA" sz="2400" b="1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ÉHABILITATION DE 4 AÉRODROMES SUR FINANCEMENT INTERNE</a:t>
            </a:r>
            <a:endParaRPr lang="fr-CA" sz="2400" b="1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5" name="Ellipse 104"/>
          <p:cNvSpPr/>
          <p:nvPr/>
        </p:nvSpPr>
        <p:spPr>
          <a:xfrm>
            <a:off x="7930061" y="3715955"/>
            <a:ext cx="139686" cy="147510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6" name="ZoneTexte 105"/>
          <p:cNvSpPr txBox="1"/>
          <p:nvPr/>
        </p:nvSpPr>
        <p:spPr>
          <a:xfrm>
            <a:off x="8056823" y="3366935"/>
            <a:ext cx="913585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>
                <a:latin typeface="Century Gothic" panose="020B0502020202020204" pitchFamily="34" charset="0"/>
              </a:rPr>
              <a:t>Kaolack</a:t>
            </a:r>
            <a:endParaRPr lang="fr-CA" sz="1200" dirty="0">
              <a:latin typeface="Century Gothic" panose="020B0502020202020204" pitchFamily="34" charset="0"/>
            </a:endParaRPr>
          </a:p>
        </p:txBody>
      </p:sp>
      <p:sp>
        <p:nvSpPr>
          <p:cNvPr id="107" name="Shape 801"/>
          <p:cNvSpPr/>
          <p:nvPr/>
        </p:nvSpPr>
        <p:spPr>
          <a:xfrm>
            <a:off x="480263" y="2745072"/>
            <a:ext cx="4810483" cy="646841"/>
          </a:xfrm>
          <a:prstGeom prst="roundRect">
            <a:avLst>
              <a:gd name="adj" fmla="val 13209"/>
            </a:avLst>
          </a:prstGeom>
          <a:solidFill>
            <a:schemeClr val="bg2"/>
          </a:solidFill>
          <a:ln w="15875" cap="rnd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799" dist="38100" dir="2700000" algn="tl" rotWithShape="0">
              <a:srgbClr val="000000">
                <a:alpha val="40000"/>
              </a:srgbClr>
            </a:outerShdw>
          </a:effectLst>
        </p:spPr>
        <p:txBody>
          <a:bodyPr lIns="5486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fr-CA" sz="2000" b="1" cap="small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Financement</a:t>
            </a:r>
            <a:endParaRPr lang="fr-CA" b="1" cap="small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8" name="Shape 801"/>
          <p:cNvSpPr/>
          <p:nvPr/>
        </p:nvSpPr>
        <p:spPr>
          <a:xfrm>
            <a:off x="861513" y="4564021"/>
            <a:ext cx="4810483" cy="646841"/>
          </a:xfrm>
          <a:prstGeom prst="roundRect">
            <a:avLst>
              <a:gd name="adj" fmla="val 13209"/>
            </a:avLst>
          </a:prstGeom>
          <a:solidFill>
            <a:schemeClr val="bg2"/>
          </a:solidFill>
          <a:ln w="15875" cap="rnd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799" dist="38100" dir="2700000" algn="tl" rotWithShape="0">
              <a:srgbClr val="000000">
                <a:alpha val="40000"/>
              </a:srgbClr>
            </a:outerShdw>
          </a:effectLst>
        </p:spPr>
        <p:txBody>
          <a:bodyPr lIns="5486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fr-CA" sz="2000" b="1" cap="small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Travaux et réfections prévus</a:t>
            </a:r>
            <a:endParaRPr lang="fr-CA" b="1" cap="small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1204502" y="3520823"/>
            <a:ext cx="50079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b="1" dirty="0">
                <a:latin typeface="Century Gothic" panose="020B0502020202020204" pitchFamily="34" charset="0"/>
              </a:rPr>
              <a:t>6 milliards F CFA sur le Budget d’Investissement Consolidé 2017</a:t>
            </a:r>
          </a:p>
        </p:txBody>
      </p:sp>
      <p:sp>
        <p:nvSpPr>
          <p:cNvPr id="110" name="Shape 801"/>
          <p:cNvSpPr/>
          <p:nvPr/>
        </p:nvSpPr>
        <p:spPr>
          <a:xfrm>
            <a:off x="1038485" y="944779"/>
            <a:ext cx="4783750" cy="646841"/>
          </a:xfrm>
          <a:prstGeom prst="roundRect">
            <a:avLst>
              <a:gd name="adj" fmla="val 13209"/>
            </a:avLst>
          </a:prstGeom>
          <a:solidFill>
            <a:schemeClr val="bg2"/>
          </a:solidFill>
          <a:ln w="15875" cap="rnd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799" dist="38100" dir="2700000" algn="tl" rotWithShape="0">
              <a:srgbClr val="000000">
                <a:alpha val="40000"/>
              </a:srgbClr>
            </a:outerShdw>
          </a:effectLst>
        </p:spPr>
        <p:txBody>
          <a:bodyPr lIns="5486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fr-CA" sz="2000" b="1" cap="small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érodromes concernés</a:t>
            </a:r>
            <a:endParaRPr lang="fr-CA" b="1" cap="small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1" name="ZoneTexte 110"/>
          <p:cNvSpPr txBox="1"/>
          <p:nvPr/>
        </p:nvSpPr>
        <p:spPr>
          <a:xfrm>
            <a:off x="1099649" y="1577328"/>
            <a:ext cx="500797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CA" sz="1600" b="1" dirty="0" smtClean="0">
                <a:latin typeface="Century Gothic" panose="020B0502020202020204" pitchFamily="34" charset="0"/>
              </a:rPr>
              <a:t>Cap-</a:t>
            </a:r>
            <a:r>
              <a:rPr lang="fr-CA" sz="1600" b="1" dirty="0" err="1" smtClean="0">
                <a:latin typeface="Century Gothic" panose="020B0502020202020204" pitchFamily="34" charset="0"/>
              </a:rPr>
              <a:t>Skirring</a:t>
            </a:r>
            <a:endParaRPr lang="fr-CA" sz="1600" b="1" dirty="0" smtClean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fr-CA" sz="1600" b="1" dirty="0" smtClean="0">
                <a:latin typeface="Century Gothic" panose="020B0502020202020204" pitchFamily="34" charset="0"/>
              </a:rPr>
              <a:t>Kaolack</a:t>
            </a:r>
          </a:p>
          <a:p>
            <a:pPr marL="285750" indent="-285750">
              <a:buFontTx/>
              <a:buChar char="-"/>
            </a:pPr>
            <a:r>
              <a:rPr lang="fr-CA" sz="1600" b="1" dirty="0" err="1" smtClean="0">
                <a:latin typeface="Century Gothic" panose="020B0502020202020204" pitchFamily="34" charset="0"/>
              </a:rPr>
              <a:t>Sédhiou</a:t>
            </a:r>
            <a:endParaRPr lang="fr-CA" sz="1600" b="1" dirty="0" smtClean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fr-CA" sz="1600" b="1" dirty="0" smtClean="0">
                <a:latin typeface="Century Gothic" panose="020B0502020202020204" pitchFamily="34" charset="0"/>
              </a:rPr>
              <a:t>Podor</a:t>
            </a:r>
            <a:endParaRPr lang="fr-CA" sz="1600" b="1" dirty="0">
              <a:latin typeface="Century Gothic" panose="020B0502020202020204" pitchFamily="34" charset="0"/>
            </a:endParaRPr>
          </a:p>
        </p:txBody>
      </p:sp>
      <p:pic>
        <p:nvPicPr>
          <p:cNvPr id="112" name="Shape 806"/>
          <p:cNvPicPr preferRelativeResize="0"/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21881" y="-30392"/>
            <a:ext cx="1030643" cy="7607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4718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" name="Shape 986"/>
          <p:cNvSpPr txBox="1">
            <a:spLocks noGrp="1"/>
          </p:cNvSpPr>
          <p:nvPr>
            <p:ph idx="1"/>
          </p:nvPr>
        </p:nvSpPr>
        <p:spPr>
          <a:xfrm>
            <a:off x="2428346" y="2717800"/>
            <a:ext cx="8915400" cy="377762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ans Symbols"/>
              <a:buNone/>
            </a:pPr>
            <a:r>
              <a:rPr lang="fr-CA" sz="5400" b="1" i="0" u="none" strike="noStrike" cap="none">
                <a:solidFill>
                  <a:srgbClr val="3F3F3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Merci pour votre attention</a:t>
            </a:r>
          </a:p>
        </p:txBody>
      </p:sp>
      <p:pic>
        <p:nvPicPr>
          <p:cNvPr id="987" name="Shape 98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5974" y="279612"/>
            <a:ext cx="1680376" cy="12402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6315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" name="Shape 266"/>
          <p:cNvGrpSpPr/>
          <p:nvPr/>
        </p:nvGrpSpPr>
        <p:grpSpPr>
          <a:xfrm>
            <a:off x="2058777" y="1201076"/>
            <a:ext cx="4975647" cy="4698762"/>
            <a:chOff x="3866485" y="1323553"/>
            <a:chExt cx="4459029" cy="4210894"/>
          </a:xfrm>
        </p:grpSpPr>
        <p:sp>
          <p:nvSpPr>
            <p:cNvPr id="267" name="Shape 267"/>
            <p:cNvSpPr/>
            <p:nvPr/>
          </p:nvSpPr>
          <p:spPr>
            <a:xfrm>
              <a:off x="3866485" y="2640768"/>
              <a:ext cx="2116128" cy="289367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2046" y="0"/>
                  </a:moveTo>
                  <a:cubicBezTo>
                    <a:pt x="93374" y="0"/>
                    <a:pt x="104166" y="1678"/>
                    <a:pt x="113982" y="4715"/>
                  </a:cubicBezTo>
                  <a:lnTo>
                    <a:pt x="120000" y="6834"/>
                  </a:lnTo>
                  <a:lnTo>
                    <a:pt x="112721" y="10915"/>
                  </a:lnTo>
                  <a:cubicBezTo>
                    <a:pt x="93932" y="22817"/>
                    <a:pt x="82046" y="40393"/>
                    <a:pt x="82046" y="60000"/>
                  </a:cubicBezTo>
                  <a:lnTo>
                    <a:pt x="82155" y="61583"/>
                  </a:lnTo>
                  <a:lnTo>
                    <a:pt x="82155" y="61583"/>
                  </a:lnTo>
                  <a:lnTo>
                    <a:pt x="82504" y="66637"/>
                  </a:lnTo>
                  <a:cubicBezTo>
                    <a:pt x="84891" y="83822"/>
                    <a:pt x="96444" y="99025"/>
                    <a:pt x="113531" y="109591"/>
                  </a:cubicBezTo>
                  <a:lnTo>
                    <a:pt x="119990" y="113168"/>
                  </a:lnTo>
                  <a:lnTo>
                    <a:pt x="113982" y="115284"/>
                  </a:lnTo>
                  <a:cubicBezTo>
                    <a:pt x="104166" y="118321"/>
                    <a:pt x="93374" y="120000"/>
                    <a:pt x="82046" y="120000"/>
                  </a:cubicBezTo>
                  <a:cubicBezTo>
                    <a:pt x="36733" y="120000"/>
                    <a:pt x="0" y="93137"/>
                    <a:pt x="0" y="60000"/>
                  </a:cubicBezTo>
                  <a:cubicBezTo>
                    <a:pt x="0" y="26862"/>
                    <a:pt x="36733" y="0"/>
                    <a:pt x="82046" y="0"/>
                  </a:cubicBezTo>
                  <a:close/>
                </a:path>
              </a:pathLst>
            </a:custGeom>
            <a:solidFill>
              <a:srgbClr val="F3AC1E"/>
            </a:solidFill>
            <a:ln w="38100">
              <a:solidFill>
                <a:srgbClr val="FFC000"/>
              </a:solidFill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68" name="Shape 268"/>
            <p:cNvSpPr/>
            <p:nvPr/>
          </p:nvSpPr>
          <p:spPr>
            <a:xfrm>
              <a:off x="5436876" y="2868165"/>
              <a:ext cx="2888638" cy="266628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2153" y="0"/>
                  </a:moveTo>
                  <a:lnTo>
                    <a:pt x="93500" y="886"/>
                  </a:lnTo>
                  <a:cubicBezTo>
                    <a:pt x="109488" y="12588"/>
                    <a:pt x="120000" y="32405"/>
                    <a:pt x="120000" y="54882"/>
                  </a:cubicBezTo>
                  <a:cubicBezTo>
                    <a:pt x="120000" y="90846"/>
                    <a:pt x="93090" y="120000"/>
                    <a:pt x="59895" y="120000"/>
                  </a:cubicBezTo>
                  <a:cubicBezTo>
                    <a:pt x="28775" y="120000"/>
                    <a:pt x="3178" y="94376"/>
                    <a:pt x="100" y="61540"/>
                  </a:cubicBezTo>
                  <a:lnTo>
                    <a:pt x="0" y="59375"/>
                  </a:lnTo>
                  <a:lnTo>
                    <a:pt x="3537" y="61163"/>
                  </a:lnTo>
                  <a:cubicBezTo>
                    <a:pt x="10920" y="64317"/>
                    <a:pt x="18964" y="66050"/>
                    <a:pt x="27381" y="66050"/>
                  </a:cubicBezTo>
                  <a:cubicBezTo>
                    <a:pt x="38604" y="66050"/>
                    <a:pt x="49163" y="62970"/>
                    <a:pt x="58377" y="57547"/>
                  </a:cubicBezTo>
                  <a:lnTo>
                    <a:pt x="59815" y="56601"/>
                  </a:lnTo>
                  <a:lnTo>
                    <a:pt x="59815" y="56601"/>
                  </a:lnTo>
                  <a:lnTo>
                    <a:pt x="63739" y="54018"/>
                  </a:lnTo>
                  <a:cubicBezTo>
                    <a:pt x="78874" y="42940"/>
                    <a:pt x="89473" y="25140"/>
                    <a:pt x="91886" y="4572"/>
                  </a:cubicBezTo>
                  <a:lnTo>
                    <a:pt x="92153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1B400">
                    <a:tint val="66000"/>
                    <a:satMod val="160000"/>
                  </a:srgbClr>
                </a:gs>
                <a:gs pos="50000">
                  <a:srgbClr val="A1B400">
                    <a:tint val="44500"/>
                    <a:satMod val="160000"/>
                  </a:srgbClr>
                </a:gs>
                <a:gs pos="100000">
                  <a:srgbClr val="A1B4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69" name="Shape 269"/>
            <p:cNvSpPr/>
            <p:nvPr/>
          </p:nvSpPr>
          <p:spPr>
            <a:xfrm>
              <a:off x="4654201" y="1323553"/>
              <a:ext cx="2888638" cy="266628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9895" y="0"/>
                  </a:moveTo>
                  <a:cubicBezTo>
                    <a:pt x="93090" y="0"/>
                    <a:pt x="120000" y="29153"/>
                    <a:pt x="120000" y="65117"/>
                  </a:cubicBezTo>
                  <a:cubicBezTo>
                    <a:pt x="120000" y="87594"/>
                    <a:pt x="109488" y="107411"/>
                    <a:pt x="93500" y="119113"/>
                  </a:cubicBezTo>
                  <a:lnTo>
                    <a:pt x="92153" y="120000"/>
                  </a:lnTo>
                  <a:lnTo>
                    <a:pt x="91886" y="115427"/>
                  </a:lnTo>
                  <a:cubicBezTo>
                    <a:pt x="89473" y="94859"/>
                    <a:pt x="78874" y="77059"/>
                    <a:pt x="63739" y="65981"/>
                  </a:cubicBezTo>
                  <a:lnTo>
                    <a:pt x="59895" y="63451"/>
                  </a:lnTo>
                  <a:lnTo>
                    <a:pt x="59895" y="63451"/>
                  </a:lnTo>
                  <a:lnTo>
                    <a:pt x="58377" y="62452"/>
                  </a:lnTo>
                  <a:cubicBezTo>
                    <a:pt x="49163" y="57029"/>
                    <a:pt x="38604" y="53949"/>
                    <a:pt x="27381" y="53949"/>
                  </a:cubicBezTo>
                  <a:cubicBezTo>
                    <a:pt x="18964" y="53949"/>
                    <a:pt x="10920" y="55682"/>
                    <a:pt x="3537" y="58836"/>
                  </a:cubicBezTo>
                  <a:lnTo>
                    <a:pt x="0" y="60624"/>
                  </a:lnTo>
                  <a:lnTo>
                    <a:pt x="100" y="58459"/>
                  </a:lnTo>
                  <a:cubicBezTo>
                    <a:pt x="3178" y="25623"/>
                    <a:pt x="28775" y="0"/>
                    <a:pt x="5989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E3F18">
                    <a:tint val="66000"/>
                    <a:satMod val="160000"/>
                  </a:srgbClr>
                </a:gs>
                <a:gs pos="50000">
                  <a:srgbClr val="DE3F18">
                    <a:tint val="44500"/>
                    <a:satMod val="160000"/>
                  </a:srgbClr>
                </a:gs>
                <a:gs pos="100000">
                  <a:srgbClr val="DE3F18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70" name="Shape 270"/>
            <p:cNvSpPr/>
            <p:nvPr/>
          </p:nvSpPr>
          <p:spPr>
            <a:xfrm>
              <a:off x="5436876" y="4418557"/>
              <a:ext cx="2735414" cy="524057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 dirty="0">
                  <a:gradFill flip="none" rotWithShape="1">
                    <a:gsLst>
                      <a:gs pos="0">
                        <a:schemeClr val="dk1">
                          <a:tint val="66000"/>
                          <a:satMod val="160000"/>
                        </a:schemeClr>
                      </a:gs>
                      <a:gs pos="50000">
                        <a:schemeClr val="dk1">
                          <a:tint val="44500"/>
                          <a:satMod val="160000"/>
                        </a:schemeClr>
                      </a:gs>
                      <a:gs pos="100000">
                        <a:schemeClr val="dk1">
                          <a:tint val="23500"/>
                          <a:satMod val="160000"/>
                        </a:schemeClr>
                      </a:gs>
                    </a:gsLst>
                    <a:lin ang="2700000" scaled="1"/>
                    <a:tileRect/>
                  </a:gradFill>
                  <a:latin typeface="Century Gothic"/>
                  <a:ea typeface="Century Gothic"/>
                  <a:cs typeface="Century Gothic"/>
                  <a:sym typeface="Century Gothic"/>
                </a:rPr>
                <a:t>Réhabilitation des aérodromes régionaux</a:t>
              </a:r>
            </a:p>
          </p:txBody>
        </p:sp>
        <p:grpSp>
          <p:nvGrpSpPr>
            <p:cNvPr id="271" name="Shape 271"/>
            <p:cNvGrpSpPr/>
            <p:nvPr/>
          </p:nvGrpSpPr>
          <p:grpSpPr>
            <a:xfrm>
              <a:off x="4942686" y="1847461"/>
              <a:ext cx="2697750" cy="634387"/>
              <a:chOff x="1143537" y="4428142"/>
              <a:chExt cx="3211232" cy="634387"/>
            </a:xfrm>
          </p:grpSpPr>
          <p:sp>
            <p:nvSpPr>
              <p:cNvPr id="272" name="Shape 272"/>
              <p:cNvSpPr/>
              <p:nvPr/>
            </p:nvSpPr>
            <p:spPr>
              <a:xfrm>
                <a:off x="2850948" y="4698276"/>
                <a:ext cx="1503821" cy="22065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just" rtl="0">
                  <a:spcBef>
                    <a:spcPts val="0"/>
                  </a:spcBef>
                  <a:buNone/>
                </a:pPr>
                <a:endParaRPr sz="10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273" name="Shape 273"/>
              <p:cNvSpPr/>
              <p:nvPr/>
            </p:nvSpPr>
            <p:spPr>
              <a:xfrm>
                <a:off x="1143537" y="4428142"/>
                <a:ext cx="2777343" cy="6343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SzPct val="25000"/>
                  <a:buNone/>
                </a:pPr>
                <a:r>
                  <a:rPr lang="fr-CA" sz="2000" b="1" dirty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  <a:latin typeface="Century Gothic"/>
                    <a:ea typeface="Century Gothic"/>
                    <a:cs typeface="Century Gothic"/>
                    <a:sym typeface="Century Gothic"/>
                  </a:rPr>
                  <a:t>Mise en service de l’AIBD</a:t>
                </a:r>
              </a:p>
            </p:txBody>
          </p:sp>
        </p:grpSp>
        <p:sp>
          <p:nvSpPr>
            <p:cNvPr id="274" name="Shape 274"/>
            <p:cNvSpPr/>
            <p:nvPr/>
          </p:nvSpPr>
          <p:spPr>
            <a:xfrm>
              <a:off x="3876651" y="3507151"/>
              <a:ext cx="1560225" cy="1186028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ise en place de la nouvelle compagnie nationale</a:t>
              </a:r>
            </a:p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Air </a:t>
              </a:r>
              <a:r>
                <a:rPr lang="fr-CA" sz="1600" b="1" dirty="0" err="1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enegal</a:t>
              </a:r>
              <a:r>
                <a:rPr lang="fr-CA" sz="1600" b="1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 SA</a:t>
              </a:r>
            </a:p>
          </p:txBody>
        </p:sp>
      </p:grpSp>
      <p:sp>
        <p:nvSpPr>
          <p:cNvPr id="275" name="Shape 275"/>
          <p:cNvSpPr txBox="1">
            <a:spLocks noGrp="1"/>
          </p:cNvSpPr>
          <p:nvPr>
            <p:ph type="title"/>
          </p:nvPr>
        </p:nvSpPr>
        <p:spPr>
          <a:xfrm>
            <a:off x="976625" y="114601"/>
            <a:ext cx="9696450" cy="103867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0000FF"/>
              </a:buClr>
              <a:buSzPct val="25000"/>
              <a:buFont typeface="Verdana"/>
              <a:buNone/>
            </a:pPr>
            <a:r>
              <a:rPr lang="fr-CA" sz="3240" b="1" i="0" u="none" strike="noStrike" cap="none">
                <a:solidFill>
                  <a:srgbClr val="0000FF"/>
                </a:solidFill>
                <a:latin typeface="Verdana"/>
                <a:ea typeface="Verdana"/>
                <a:cs typeface="Verdana"/>
                <a:sym typeface="Verdana"/>
              </a:rPr>
              <a:t>     </a:t>
            </a:r>
            <a:r>
              <a:rPr lang="fr-CA" sz="279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Projet de relance du Hub Aérien Régional</a:t>
            </a:r>
          </a:p>
        </p:txBody>
      </p:sp>
      <p:sp>
        <p:nvSpPr>
          <p:cNvPr id="278" name="Shape 278"/>
          <p:cNvSpPr/>
          <p:nvPr/>
        </p:nvSpPr>
        <p:spPr>
          <a:xfrm>
            <a:off x="7713132" y="4553636"/>
            <a:ext cx="4106332" cy="1371599"/>
          </a:xfrm>
          <a:prstGeom prst="roundRect">
            <a:avLst>
              <a:gd name="adj" fmla="val 16667"/>
            </a:avLst>
          </a:prstGeom>
          <a:solidFill>
            <a:srgbClr val="F3AC1E"/>
          </a:solidFill>
          <a:ln w="15875" cap="rnd" cmpd="sng">
            <a:solidFill>
              <a:srgbClr val="A25B1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fr-CA" sz="1800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avillon national fort pour relier les dessertes domestiques, régionales et internationales</a:t>
            </a:r>
          </a:p>
        </p:txBody>
      </p:sp>
      <p:pic>
        <p:nvPicPr>
          <p:cNvPr id="279" name="Shape 279"/>
          <p:cNvPicPr preferRelativeResize="0"/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3973730" y="3245160"/>
            <a:ext cx="1089024" cy="1232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280" name="Shape 280"/>
          <p:cNvPicPr preferRelativeResize="0"/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95032" y="114601"/>
            <a:ext cx="1287117" cy="950015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Shape 737"/>
          <p:cNvSpPr txBox="1"/>
          <p:nvPr/>
        </p:nvSpPr>
        <p:spPr>
          <a:xfrm>
            <a:off x="6482977" y="1064616"/>
            <a:ext cx="4920500" cy="264748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lvl="1" algn="ctr">
              <a:buClr>
                <a:schemeClr val="dk1"/>
              </a:buClr>
              <a:buSzPct val="25000"/>
            </a:pPr>
            <a:endParaRPr lang="fr-CA" sz="1800" b="1" dirty="0">
              <a:solidFill>
                <a:srgbClr val="262626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lvl="1" algn="ctr">
              <a:buClr>
                <a:schemeClr val="dk1"/>
              </a:buClr>
              <a:buSzPct val="25000"/>
            </a:pPr>
            <a:endParaRPr lang="fr-CA" b="1" dirty="0" smtClean="0">
              <a:solidFill>
                <a:srgbClr val="262626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lvl="1">
              <a:buClr>
                <a:schemeClr val="dk1"/>
              </a:buClr>
              <a:buSzPct val="25000"/>
            </a:pPr>
            <a:r>
              <a:rPr lang="fr-CA" sz="2800" b="1" dirty="0" smtClean="0">
                <a:solidFill>
                  <a:schemeClr val="tx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ésenté par :</a:t>
            </a:r>
            <a:endParaRPr sz="2800" dirty="0">
              <a:solidFill>
                <a:schemeClr val="tx2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289113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" name="Shape 266"/>
          <p:cNvGrpSpPr/>
          <p:nvPr/>
        </p:nvGrpSpPr>
        <p:grpSpPr>
          <a:xfrm>
            <a:off x="2058777" y="1201076"/>
            <a:ext cx="4975647" cy="4698762"/>
            <a:chOff x="3866485" y="1323553"/>
            <a:chExt cx="4459029" cy="4210894"/>
          </a:xfrm>
        </p:grpSpPr>
        <p:sp>
          <p:nvSpPr>
            <p:cNvPr id="267" name="Shape 267"/>
            <p:cNvSpPr/>
            <p:nvPr/>
          </p:nvSpPr>
          <p:spPr>
            <a:xfrm>
              <a:off x="3866485" y="2640768"/>
              <a:ext cx="2116128" cy="289367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2046" y="0"/>
                  </a:moveTo>
                  <a:cubicBezTo>
                    <a:pt x="93374" y="0"/>
                    <a:pt x="104166" y="1678"/>
                    <a:pt x="113982" y="4715"/>
                  </a:cubicBezTo>
                  <a:lnTo>
                    <a:pt x="120000" y="6834"/>
                  </a:lnTo>
                  <a:lnTo>
                    <a:pt x="112721" y="10915"/>
                  </a:lnTo>
                  <a:cubicBezTo>
                    <a:pt x="93932" y="22817"/>
                    <a:pt x="82046" y="40393"/>
                    <a:pt x="82046" y="60000"/>
                  </a:cubicBezTo>
                  <a:lnTo>
                    <a:pt x="82155" y="61583"/>
                  </a:lnTo>
                  <a:lnTo>
                    <a:pt x="82155" y="61583"/>
                  </a:lnTo>
                  <a:lnTo>
                    <a:pt x="82504" y="66637"/>
                  </a:lnTo>
                  <a:cubicBezTo>
                    <a:pt x="84891" y="83822"/>
                    <a:pt x="96444" y="99025"/>
                    <a:pt x="113531" y="109591"/>
                  </a:cubicBezTo>
                  <a:lnTo>
                    <a:pt x="119990" y="113168"/>
                  </a:lnTo>
                  <a:lnTo>
                    <a:pt x="113982" y="115284"/>
                  </a:lnTo>
                  <a:cubicBezTo>
                    <a:pt x="104166" y="118321"/>
                    <a:pt x="93374" y="120000"/>
                    <a:pt x="82046" y="120000"/>
                  </a:cubicBezTo>
                  <a:cubicBezTo>
                    <a:pt x="36733" y="120000"/>
                    <a:pt x="0" y="93137"/>
                    <a:pt x="0" y="60000"/>
                  </a:cubicBezTo>
                  <a:cubicBezTo>
                    <a:pt x="0" y="26862"/>
                    <a:pt x="36733" y="0"/>
                    <a:pt x="82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3AC1E">
                    <a:tint val="66000"/>
                    <a:satMod val="160000"/>
                  </a:srgbClr>
                </a:gs>
                <a:gs pos="50000">
                  <a:srgbClr val="F3AC1E">
                    <a:tint val="44500"/>
                    <a:satMod val="160000"/>
                  </a:srgbClr>
                </a:gs>
                <a:gs pos="100000">
                  <a:srgbClr val="F3AC1E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68" name="Shape 268"/>
            <p:cNvSpPr/>
            <p:nvPr/>
          </p:nvSpPr>
          <p:spPr>
            <a:xfrm>
              <a:off x="5436876" y="2868165"/>
              <a:ext cx="2888638" cy="266628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2153" y="0"/>
                  </a:moveTo>
                  <a:lnTo>
                    <a:pt x="93500" y="886"/>
                  </a:lnTo>
                  <a:cubicBezTo>
                    <a:pt x="109488" y="12588"/>
                    <a:pt x="120000" y="32405"/>
                    <a:pt x="120000" y="54882"/>
                  </a:cubicBezTo>
                  <a:cubicBezTo>
                    <a:pt x="120000" y="90846"/>
                    <a:pt x="93090" y="120000"/>
                    <a:pt x="59895" y="120000"/>
                  </a:cubicBezTo>
                  <a:cubicBezTo>
                    <a:pt x="28775" y="120000"/>
                    <a:pt x="3178" y="94376"/>
                    <a:pt x="100" y="61540"/>
                  </a:cubicBezTo>
                  <a:lnTo>
                    <a:pt x="0" y="59375"/>
                  </a:lnTo>
                  <a:lnTo>
                    <a:pt x="3537" y="61163"/>
                  </a:lnTo>
                  <a:cubicBezTo>
                    <a:pt x="10920" y="64317"/>
                    <a:pt x="18964" y="66050"/>
                    <a:pt x="27381" y="66050"/>
                  </a:cubicBezTo>
                  <a:cubicBezTo>
                    <a:pt x="38604" y="66050"/>
                    <a:pt x="49163" y="62970"/>
                    <a:pt x="58377" y="57547"/>
                  </a:cubicBezTo>
                  <a:lnTo>
                    <a:pt x="59815" y="56601"/>
                  </a:lnTo>
                  <a:lnTo>
                    <a:pt x="59815" y="56601"/>
                  </a:lnTo>
                  <a:lnTo>
                    <a:pt x="63739" y="54018"/>
                  </a:lnTo>
                  <a:cubicBezTo>
                    <a:pt x="78874" y="42940"/>
                    <a:pt x="89473" y="25140"/>
                    <a:pt x="91886" y="4572"/>
                  </a:cubicBezTo>
                  <a:lnTo>
                    <a:pt x="92153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1B400">
                    <a:tint val="66000"/>
                    <a:satMod val="160000"/>
                  </a:srgbClr>
                </a:gs>
                <a:gs pos="50000">
                  <a:srgbClr val="A1B400">
                    <a:tint val="44500"/>
                    <a:satMod val="160000"/>
                  </a:srgbClr>
                </a:gs>
                <a:gs pos="100000">
                  <a:srgbClr val="A1B4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69" name="Shape 269"/>
            <p:cNvSpPr/>
            <p:nvPr/>
          </p:nvSpPr>
          <p:spPr>
            <a:xfrm>
              <a:off x="4654201" y="1323553"/>
              <a:ext cx="2888638" cy="266628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9895" y="0"/>
                  </a:moveTo>
                  <a:cubicBezTo>
                    <a:pt x="93090" y="0"/>
                    <a:pt x="120000" y="29153"/>
                    <a:pt x="120000" y="65117"/>
                  </a:cubicBezTo>
                  <a:cubicBezTo>
                    <a:pt x="120000" y="87594"/>
                    <a:pt x="109488" y="107411"/>
                    <a:pt x="93500" y="119113"/>
                  </a:cubicBezTo>
                  <a:lnTo>
                    <a:pt x="92153" y="120000"/>
                  </a:lnTo>
                  <a:lnTo>
                    <a:pt x="91886" y="115427"/>
                  </a:lnTo>
                  <a:cubicBezTo>
                    <a:pt x="89473" y="94859"/>
                    <a:pt x="78874" y="77059"/>
                    <a:pt x="63739" y="65981"/>
                  </a:cubicBezTo>
                  <a:lnTo>
                    <a:pt x="59895" y="63451"/>
                  </a:lnTo>
                  <a:lnTo>
                    <a:pt x="59895" y="63451"/>
                  </a:lnTo>
                  <a:lnTo>
                    <a:pt x="58377" y="62452"/>
                  </a:lnTo>
                  <a:cubicBezTo>
                    <a:pt x="49163" y="57029"/>
                    <a:pt x="38604" y="53949"/>
                    <a:pt x="27381" y="53949"/>
                  </a:cubicBezTo>
                  <a:cubicBezTo>
                    <a:pt x="18964" y="53949"/>
                    <a:pt x="10920" y="55682"/>
                    <a:pt x="3537" y="58836"/>
                  </a:cubicBezTo>
                  <a:lnTo>
                    <a:pt x="0" y="60624"/>
                  </a:lnTo>
                  <a:lnTo>
                    <a:pt x="100" y="58459"/>
                  </a:lnTo>
                  <a:cubicBezTo>
                    <a:pt x="3178" y="25623"/>
                    <a:pt x="28775" y="0"/>
                    <a:pt x="59895" y="0"/>
                  </a:cubicBezTo>
                  <a:close/>
                </a:path>
              </a:pathLst>
            </a:custGeom>
            <a:solidFill>
              <a:srgbClr val="DE3F18"/>
            </a:solidFill>
            <a:ln w="3175">
              <a:solidFill>
                <a:srgbClr val="FF0000"/>
              </a:solidFill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70" name="Shape 270"/>
            <p:cNvSpPr/>
            <p:nvPr/>
          </p:nvSpPr>
          <p:spPr>
            <a:xfrm>
              <a:off x="5436876" y="4418557"/>
              <a:ext cx="2735414" cy="524057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 dirty="0">
                  <a:gradFill flip="none" rotWithShape="1">
                    <a:gsLst>
                      <a:gs pos="0">
                        <a:schemeClr val="dk1">
                          <a:tint val="66000"/>
                          <a:satMod val="160000"/>
                        </a:schemeClr>
                      </a:gs>
                      <a:gs pos="50000">
                        <a:schemeClr val="dk1">
                          <a:tint val="44500"/>
                          <a:satMod val="160000"/>
                        </a:schemeClr>
                      </a:gs>
                      <a:gs pos="100000">
                        <a:schemeClr val="dk1">
                          <a:tint val="23500"/>
                          <a:satMod val="160000"/>
                        </a:schemeClr>
                      </a:gs>
                    </a:gsLst>
                    <a:lin ang="2700000" scaled="1"/>
                    <a:tileRect/>
                  </a:gradFill>
                  <a:latin typeface="Century Gothic"/>
                  <a:ea typeface="Century Gothic"/>
                  <a:cs typeface="Century Gothic"/>
                  <a:sym typeface="Century Gothic"/>
                </a:rPr>
                <a:t>Réhabilitation des aérodromes régionaux</a:t>
              </a:r>
            </a:p>
          </p:txBody>
        </p:sp>
        <p:grpSp>
          <p:nvGrpSpPr>
            <p:cNvPr id="271" name="Shape 271"/>
            <p:cNvGrpSpPr/>
            <p:nvPr/>
          </p:nvGrpSpPr>
          <p:grpSpPr>
            <a:xfrm>
              <a:off x="4942686" y="1847461"/>
              <a:ext cx="2697750" cy="634387"/>
              <a:chOff x="1143537" y="4428142"/>
              <a:chExt cx="3211232" cy="634387"/>
            </a:xfrm>
          </p:grpSpPr>
          <p:sp>
            <p:nvSpPr>
              <p:cNvPr id="272" name="Shape 272"/>
              <p:cNvSpPr/>
              <p:nvPr/>
            </p:nvSpPr>
            <p:spPr>
              <a:xfrm>
                <a:off x="2850948" y="4698276"/>
                <a:ext cx="1503821" cy="22065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just" rtl="0">
                  <a:spcBef>
                    <a:spcPts val="0"/>
                  </a:spcBef>
                  <a:buNone/>
                </a:pPr>
                <a:endParaRPr sz="10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273" name="Shape 273"/>
              <p:cNvSpPr/>
              <p:nvPr/>
            </p:nvSpPr>
            <p:spPr>
              <a:xfrm>
                <a:off x="1143537" y="4428142"/>
                <a:ext cx="2777343" cy="6343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SzPct val="25000"/>
                  <a:buNone/>
                </a:pPr>
                <a:r>
                  <a:rPr lang="fr-CA" sz="2000" b="1" dirty="0">
                    <a:solidFill>
                      <a:schemeClr val="dk1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Mise en service de l’AIBD</a:t>
                </a:r>
              </a:p>
            </p:txBody>
          </p:sp>
        </p:grpSp>
        <p:sp>
          <p:nvSpPr>
            <p:cNvPr id="274" name="Shape 274"/>
            <p:cNvSpPr/>
            <p:nvPr/>
          </p:nvSpPr>
          <p:spPr>
            <a:xfrm>
              <a:off x="3876651" y="3507151"/>
              <a:ext cx="1560225" cy="1186028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 dirty="0">
                  <a:gradFill flip="none" rotWithShape="1">
                    <a:gsLst>
                      <a:gs pos="0">
                        <a:schemeClr val="dk1">
                          <a:tint val="66000"/>
                          <a:satMod val="160000"/>
                        </a:schemeClr>
                      </a:gs>
                      <a:gs pos="50000">
                        <a:schemeClr val="dk1">
                          <a:tint val="44500"/>
                          <a:satMod val="160000"/>
                        </a:schemeClr>
                      </a:gs>
                      <a:gs pos="100000">
                        <a:schemeClr val="dk1">
                          <a:tint val="23500"/>
                          <a:satMod val="160000"/>
                        </a:schemeClr>
                      </a:gs>
                    </a:gsLst>
                    <a:lin ang="2700000" scaled="1"/>
                    <a:tileRect/>
                  </a:gradFill>
                  <a:latin typeface="Century Gothic"/>
                  <a:ea typeface="Century Gothic"/>
                  <a:cs typeface="Century Gothic"/>
                  <a:sym typeface="Century Gothic"/>
                </a:rPr>
                <a:t>Mise en place de la nouvelle compagnie nationale</a:t>
              </a:r>
            </a:p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fr-CA" sz="1600" b="1" dirty="0">
                  <a:gradFill flip="none" rotWithShape="1">
                    <a:gsLst>
                      <a:gs pos="0">
                        <a:schemeClr val="dk1">
                          <a:tint val="66000"/>
                          <a:satMod val="160000"/>
                        </a:schemeClr>
                      </a:gs>
                      <a:gs pos="50000">
                        <a:schemeClr val="dk1">
                          <a:tint val="44500"/>
                          <a:satMod val="160000"/>
                        </a:schemeClr>
                      </a:gs>
                      <a:gs pos="100000">
                        <a:schemeClr val="dk1">
                          <a:tint val="23500"/>
                          <a:satMod val="160000"/>
                        </a:schemeClr>
                      </a:gs>
                    </a:gsLst>
                    <a:lin ang="2700000" scaled="1"/>
                    <a:tileRect/>
                  </a:gradFill>
                  <a:latin typeface="Century Gothic"/>
                  <a:ea typeface="Century Gothic"/>
                  <a:cs typeface="Century Gothic"/>
                  <a:sym typeface="Century Gothic"/>
                </a:rPr>
                <a:t>Air </a:t>
              </a:r>
              <a:r>
                <a:rPr lang="fr-CA" sz="1600" b="1" dirty="0" err="1">
                  <a:gradFill flip="none" rotWithShape="1">
                    <a:gsLst>
                      <a:gs pos="0">
                        <a:schemeClr val="dk1">
                          <a:tint val="66000"/>
                          <a:satMod val="160000"/>
                        </a:schemeClr>
                      </a:gs>
                      <a:gs pos="50000">
                        <a:schemeClr val="dk1">
                          <a:tint val="44500"/>
                          <a:satMod val="160000"/>
                        </a:schemeClr>
                      </a:gs>
                      <a:gs pos="100000">
                        <a:schemeClr val="dk1">
                          <a:tint val="23500"/>
                          <a:satMod val="160000"/>
                        </a:schemeClr>
                      </a:gs>
                    </a:gsLst>
                    <a:lin ang="2700000" scaled="1"/>
                    <a:tileRect/>
                  </a:gradFill>
                  <a:latin typeface="Century Gothic"/>
                  <a:ea typeface="Century Gothic"/>
                  <a:cs typeface="Century Gothic"/>
                  <a:sym typeface="Century Gothic"/>
                </a:rPr>
                <a:t>Senegal</a:t>
              </a:r>
              <a:r>
                <a:rPr lang="fr-CA" sz="1600" b="1" dirty="0">
                  <a:gradFill flip="none" rotWithShape="1">
                    <a:gsLst>
                      <a:gs pos="0">
                        <a:schemeClr val="dk1">
                          <a:tint val="66000"/>
                          <a:satMod val="160000"/>
                        </a:schemeClr>
                      </a:gs>
                      <a:gs pos="50000">
                        <a:schemeClr val="dk1">
                          <a:tint val="44500"/>
                          <a:satMod val="160000"/>
                        </a:schemeClr>
                      </a:gs>
                      <a:gs pos="100000">
                        <a:schemeClr val="dk1">
                          <a:tint val="23500"/>
                          <a:satMod val="160000"/>
                        </a:schemeClr>
                      </a:gs>
                    </a:gsLst>
                    <a:lin ang="2700000" scaled="1"/>
                    <a:tileRect/>
                  </a:gradFill>
                  <a:latin typeface="Century Gothic"/>
                  <a:ea typeface="Century Gothic"/>
                  <a:cs typeface="Century Gothic"/>
                  <a:sym typeface="Century Gothic"/>
                </a:rPr>
                <a:t> SA</a:t>
              </a:r>
            </a:p>
          </p:txBody>
        </p:sp>
      </p:grpSp>
      <p:sp>
        <p:nvSpPr>
          <p:cNvPr id="275" name="Shape 275"/>
          <p:cNvSpPr txBox="1">
            <a:spLocks noGrp="1"/>
          </p:cNvSpPr>
          <p:nvPr>
            <p:ph type="title"/>
          </p:nvPr>
        </p:nvSpPr>
        <p:spPr>
          <a:xfrm>
            <a:off x="976625" y="114601"/>
            <a:ext cx="9696450" cy="103867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0000FF"/>
              </a:buClr>
              <a:buSzPct val="25000"/>
              <a:buFont typeface="Verdana"/>
              <a:buNone/>
            </a:pPr>
            <a:r>
              <a:rPr lang="fr-CA" sz="3240" b="1" i="0" u="none" strike="noStrike" cap="none">
                <a:solidFill>
                  <a:srgbClr val="0000FF"/>
                </a:solidFill>
                <a:latin typeface="Verdana"/>
                <a:ea typeface="Verdana"/>
                <a:cs typeface="Verdana"/>
                <a:sym typeface="Verdana"/>
              </a:rPr>
              <a:t>     </a:t>
            </a:r>
            <a:r>
              <a:rPr lang="fr-CA" sz="279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Projet de relance du Hub Aérien Régional</a:t>
            </a:r>
          </a:p>
        </p:txBody>
      </p:sp>
      <p:sp>
        <p:nvSpPr>
          <p:cNvPr id="276" name="Shape 276"/>
          <p:cNvSpPr/>
          <p:nvPr/>
        </p:nvSpPr>
        <p:spPr>
          <a:xfrm>
            <a:off x="7713132" y="1346200"/>
            <a:ext cx="4106332" cy="1371599"/>
          </a:xfrm>
          <a:prstGeom prst="roundRect">
            <a:avLst>
              <a:gd name="adj" fmla="val 16667"/>
            </a:avLst>
          </a:prstGeom>
          <a:solidFill>
            <a:srgbClr val="DE3F18"/>
          </a:solidFill>
          <a:ln w="3175" cap="rnd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1" indent="0" algn="ctr" rtl="0">
              <a:spcBef>
                <a:spcPts val="0"/>
              </a:spcBef>
              <a:buSzPct val="25000"/>
              <a:buNone/>
            </a:pPr>
            <a:r>
              <a:rPr lang="fr-CA" sz="1800" b="0" i="0" u="none" strike="noStrike" cap="none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nstruction d’un nouvel aéroport à </a:t>
            </a:r>
            <a:r>
              <a:rPr lang="fr-CA" sz="1800" b="0" i="0" u="none" strike="noStrike" cap="none" dirty="0" err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iass</a:t>
            </a:r>
            <a:r>
              <a:rPr lang="fr-CA" sz="1800" b="0" i="0" u="none" strike="noStrike" cap="none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qui répond aux standards internationaux et son hub de maintenance</a:t>
            </a:r>
          </a:p>
        </p:txBody>
      </p:sp>
      <p:pic>
        <p:nvPicPr>
          <p:cNvPr id="279" name="Shape 279"/>
          <p:cNvPicPr preferRelativeResize="0"/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3973730" y="3245160"/>
            <a:ext cx="1089024" cy="1232542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Shape 737"/>
          <p:cNvSpPr txBox="1"/>
          <p:nvPr/>
        </p:nvSpPr>
        <p:spPr>
          <a:xfrm>
            <a:off x="7034424" y="3330922"/>
            <a:ext cx="4920500" cy="264748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lvl="1" algn="ctr">
              <a:buClr>
                <a:schemeClr val="dk1"/>
              </a:buClr>
              <a:buSzPct val="25000"/>
            </a:pPr>
            <a:r>
              <a:rPr lang="fr-CA" sz="2800" b="1" dirty="0" smtClean="0">
                <a:solidFill>
                  <a:srgbClr val="262626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État des lieux, Enjeux et Perspectives</a:t>
            </a:r>
          </a:p>
          <a:p>
            <a:pPr marL="0" lvl="1" algn="ctr">
              <a:buClr>
                <a:schemeClr val="dk1"/>
              </a:buClr>
              <a:buSzPct val="25000"/>
            </a:pPr>
            <a:endParaRPr lang="fr-CA" sz="1800" b="1" dirty="0">
              <a:solidFill>
                <a:srgbClr val="262626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lvl="1" algn="ctr">
              <a:buClr>
                <a:schemeClr val="dk1"/>
              </a:buClr>
              <a:buSzPct val="25000"/>
            </a:pPr>
            <a:endParaRPr lang="fr-CA" b="1" dirty="0" smtClean="0">
              <a:solidFill>
                <a:srgbClr val="262626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lvl="1">
              <a:buClr>
                <a:schemeClr val="dk1"/>
              </a:buClr>
              <a:buSzPct val="25000"/>
            </a:pPr>
            <a:r>
              <a:rPr lang="fr-CA" sz="2800" b="1" dirty="0" smtClean="0">
                <a:solidFill>
                  <a:schemeClr val="tx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ésenté par :</a:t>
            </a:r>
          </a:p>
          <a:p>
            <a:pPr marL="0" lvl="1">
              <a:buClr>
                <a:schemeClr val="dk1"/>
              </a:buClr>
              <a:buSzPct val="25000"/>
            </a:pPr>
            <a:r>
              <a:rPr lang="fr-CA" sz="2400" b="1" dirty="0" smtClean="0">
                <a:solidFill>
                  <a:srgbClr val="00206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Monsieur Abdoulaye MBODJI</a:t>
            </a:r>
          </a:p>
          <a:p>
            <a:pPr marL="0" lvl="1">
              <a:buClr>
                <a:schemeClr val="dk1"/>
              </a:buClr>
              <a:buSzPct val="25000"/>
            </a:pPr>
            <a:r>
              <a:rPr lang="fr-CA" sz="2400" b="1" dirty="0" smtClean="0">
                <a:solidFill>
                  <a:srgbClr val="00206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irecteur Général de AIBD.SA</a:t>
            </a:r>
            <a:endParaRPr sz="2400" dirty="0">
              <a:solidFill>
                <a:srgbClr val="00206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6" name="Shape 280"/>
          <p:cNvPicPr preferRelativeResize="0"/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55250" y="0"/>
            <a:ext cx="998308" cy="952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98559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AIBD sa"/>
          <p:cNvPicPr/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ZoneTexte 4"/>
          <p:cNvSpPr txBox="1"/>
          <p:nvPr/>
        </p:nvSpPr>
        <p:spPr>
          <a:xfrm>
            <a:off x="3143672" y="404664"/>
            <a:ext cx="5832648" cy="52322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800" b="1" dirty="0"/>
              <a:t>SOMMAIRE</a:t>
            </a:r>
          </a:p>
        </p:txBody>
      </p:sp>
      <p:graphicFrame>
        <p:nvGraphicFramePr>
          <p:cNvPr id="7" name="Diagramme 6"/>
          <p:cNvGraphicFramePr/>
          <p:nvPr>
            <p:extLst/>
          </p:nvPr>
        </p:nvGraphicFramePr>
        <p:xfrm>
          <a:off x="3071664" y="2564904"/>
          <a:ext cx="6096000" cy="31683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6</a:t>
            </a:fld>
            <a:endParaRPr lang="fr-FR"/>
          </a:p>
        </p:txBody>
      </p:sp>
      <p:pic>
        <p:nvPicPr>
          <p:cNvPr id="8" name="Shape 280"/>
          <p:cNvPicPr preferRelativeResize="0"/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812425" y="0"/>
            <a:ext cx="930650" cy="6762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3579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647728" y="404665"/>
            <a:ext cx="48245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dirty="0"/>
              <a:t>INTRODUCTION</a:t>
            </a:r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2708138796"/>
              </p:ext>
            </p:extLst>
          </p:nvPr>
        </p:nvGraphicFramePr>
        <p:xfrm>
          <a:off x="1847528" y="1340768"/>
          <a:ext cx="8496944" cy="5288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  <p:pic>
        <p:nvPicPr>
          <p:cNvPr id="8" name="Shape 280"/>
          <p:cNvPicPr preferRelativeResize="0"/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812425" y="221823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 descr="AIBD sa"/>
          <p:cNvPicPr/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9704412" y="122091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90114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5"/>
          <p:cNvSpPr>
            <a:spLocks noChangeArrowheads="1"/>
          </p:cNvSpPr>
          <p:nvPr/>
        </p:nvSpPr>
        <p:spPr bwMode="auto">
          <a:xfrm>
            <a:off x="1524001" y="1362076"/>
            <a:ext cx="36513" cy="3143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8000" tIns="18000" rIns="18000" bIns="18000" anchor="ctr">
            <a:spAutoFit/>
          </a:bodyPr>
          <a:lstStyle/>
          <a:p>
            <a:endParaRPr lang="fr-FR">
              <a:latin typeface="Calibri" pitchFamily="34" charset="0"/>
            </a:endParaRPr>
          </a:p>
        </p:txBody>
      </p:sp>
      <p:sp>
        <p:nvSpPr>
          <p:cNvPr id="16388" name="Rectangle 6"/>
          <p:cNvSpPr>
            <a:spLocks noChangeArrowheads="1"/>
          </p:cNvSpPr>
          <p:nvPr/>
        </p:nvSpPr>
        <p:spPr bwMode="auto">
          <a:xfrm>
            <a:off x="1524001" y="1327151"/>
            <a:ext cx="36513" cy="3143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8000" tIns="18000" rIns="18000" bIns="18000" anchor="ctr">
            <a:spAutoFit/>
          </a:bodyPr>
          <a:lstStyle/>
          <a:p>
            <a:endParaRPr lang="fr-FR">
              <a:latin typeface="Calibri" pitchFamily="34" charset="0"/>
            </a:endParaRPr>
          </a:p>
        </p:txBody>
      </p:sp>
      <p:sp>
        <p:nvSpPr>
          <p:cNvPr id="16389" name="Text Box 11"/>
          <p:cNvSpPr txBox="1">
            <a:spLocks noChangeArrowheads="1"/>
          </p:cNvSpPr>
          <p:nvPr/>
        </p:nvSpPr>
        <p:spPr bwMode="auto">
          <a:xfrm>
            <a:off x="8397876" y="2538413"/>
            <a:ext cx="1158875" cy="2206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eaLnBrk="0" hangingPunct="0">
              <a:spcAft>
                <a:spcPct val="15000"/>
              </a:spcAft>
              <a:buSzPct val="70000"/>
              <a:buFont typeface="Wingdings" pitchFamily="2" charset="2"/>
              <a:buNone/>
            </a:pPr>
            <a:r>
              <a:rPr lang="fr-FR" sz="1200">
                <a:solidFill>
                  <a:schemeClr val="bg1"/>
                </a:solidFill>
                <a:latin typeface="Calibri" pitchFamily="34" charset="0"/>
              </a:rPr>
              <a:t>Vue aérienne </a:t>
            </a:r>
          </a:p>
        </p:txBody>
      </p:sp>
      <p:sp>
        <p:nvSpPr>
          <p:cNvPr id="16390" name="Text Box 12"/>
          <p:cNvSpPr txBox="1">
            <a:spLocks noChangeArrowheads="1"/>
          </p:cNvSpPr>
          <p:nvPr/>
        </p:nvSpPr>
        <p:spPr bwMode="auto">
          <a:xfrm>
            <a:off x="7967663" y="4508500"/>
            <a:ext cx="2127250" cy="222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Aft>
                <a:spcPct val="15000"/>
              </a:spcAft>
              <a:buSzPct val="70000"/>
              <a:buFont typeface="Wingdings" pitchFamily="2" charset="2"/>
              <a:buNone/>
            </a:pPr>
            <a:r>
              <a:rPr lang="fr-FR" sz="1200">
                <a:solidFill>
                  <a:schemeClr val="bg1"/>
                </a:solidFill>
                <a:latin typeface="Calibri" pitchFamily="34" charset="0"/>
              </a:rPr>
              <a:t>Passerelles télescopiques</a:t>
            </a:r>
          </a:p>
        </p:txBody>
      </p:sp>
      <p:sp>
        <p:nvSpPr>
          <p:cNvPr id="16391" name="Text Box 12"/>
          <p:cNvSpPr txBox="1">
            <a:spLocks noChangeArrowheads="1"/>
          </p:cNvSpPr>
          <p:nvPr/>
        </p:nvSpPr>
        <p:spPr bwMode="auto">
          <a:xfrm>
            <a:off x="4943476" y="4508500"/>
            <a:ext cx="1800225" cy="222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eaLnBrk="0" hangingPunct="0">
              <a:spcAft>
                <a:spcPct val="15000"/>
              </a:spcAft>
              <a:buSzPct val="70000"/>
              <a:buFont typeface="Wingdings" pitchFamily="2" charset="2"/>
              <a:buNone/>
            </a:pPr>
            <a:r>
              <a:rPr lang="fr-FR" sz="1200">
                <a:solidFill>
                  <a:schemeClr val="bg1"/>
                </a:solidFill>
                <a:latin typeface="Calibri" pitchFamily="34" charset="0"/>
              </a:rPr>
              <a:t>Piste  &amp; taxiway </a:t>
            </a:r>
          </a:p>
        </p:txBody>
      </p:sp>
      <p:grpSp>
        <p:nvGrpSpPr>
          <p:cNvPr id="16392" name="Groupe 16"/>
          <p:cNvGrpSpPr>
            <a:grpSpLocks/>
          </p:cNvGrpSpPr>
          <p:nvPr/>
        </p:nvGrpSpPr>
        <p:grpSpPr bwMode="auto">
          <a:xfrm>
            <a:off x="2135188" y="620688"/>
            <a:ext cx="7848600" cy="1081088"/>
            <a:chOff x="56166" y="1475656"/>
            <a:chExt cx="6541186" cy="1440160"/>
          </a:xfrm>
        </p:grpSpPr>
        <p:sp>
          <p:nvSpPr>
            <p:cNvPr id="935938" name="AutoShape 2"/>
            <p:cNvSpPr>
              <a:spLocks noChangeArrowheads="1"/>
            </p:cNvSpPr>
            <p:nvPr/>
          </p:nvSpPr>
          <p:spPr bwMode="auto">
            <a:xfrm rot="5400000">
              <a:off x="2606679" y="-1074857"/>
              <a:ext cx="1440160" cy="6541186"/>
            </a:xfrm>
            <a:prstGeom prst="roundRect">
              <a:avLst>
                <a:gd name="adj" fmla="val 6505"/>
              </a:avLst>
            </a:prstGeom>
            <a:gradFill rotWithShape="1">
              <a:gsLst>
                <a:gs pos="0">
                  <a:schemeClr val="hlink"/>
                </a:gs>
                <a:gs pos="100000">
                  <a:schemeClr val="hlink">
                    <a:gamma/>
                    <a:tint val="54902"/>
                    <a:invGamma/>
                  </a:schemeClr>
                </a:gs>
              </a:gsLst>
              <a:lin ang="5400000" scaled="1"/>
            </a:gradFill>
            <a:ln w="12700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lIns="18000" tIns="18000" rIns="18000" bIns="18000" anchor="ctr"/>
            <a:lstStyle/>
            <a:p>
              <a:pPr>
                <a:defRPr/>
              </a:pPr>
              <a:endParaRPr lang="fr-FR" dirty="0"/>
            </a:p>
          </p:txBody>
        </p:sp>
        <p:grpSp>
          <p:nvGrpSpPr>
            <p:cNvPr id="16453" name="Groupe 13"/>
            <p:cNvGrpSpPr>
              <a:grpSpLocks/>
            </p:cNvGrpSpPr>
            <p:nvPr/>
          </p:nvGrpSpPr>
          <p:grpSpPr bwMode="auto">
            <a:xfrm>
              <a:off x="188640" y="1547665"/>
              <a:ext cx="6264696" cy="1296143"/>
              <a:chOff x="476672" y="7164288"/>
              <a:chExt cx="6120680" cy="1979713"/>
            </a:xfrm>
          </p:grpSpPr>
          <p:pic>
            <p:nvPicPr>
              <p:cNvPr id="16454" name="Picture 7" descr="81x7f_Shot-07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636912" y="7164288"/>
                <a:ext cx="1944216" cy="1979712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</p:spPr>
          </p:pic>
          <p:pic>
            <p:nvPicPr>
              <p:cNvPr id="16455" name="Picture 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76672" y="7164292"/>
                <a:ext cx="2004794" cy="1900610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</p:spPr>
          </p:pic>
          <p:pic>
            <p:nvPicPr>
              <p:cNvPr id="16456" name="Picture 160" descr="Runway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4653136" y="7164288"/>
                <a:ext cx="1944216" cy="1979713"/>
              </a:xfrm>
              <a:prstGeom prst="rect">
                <a:avLst/>
              </a:prstGeom>
              <a:noFill/>
              <a:ln w="12700">
                <a:solidFill>
                  <a:srgbClr val="006666"/>
                </a:solidFill>
                <a:miter lim="800000"/>
                <a:headEnd/>
                <a:tailEnd/>
              </a:ln>
            </p:spPr>
          </p:pic>
        </p:grpSp>
      </p:grpSp>
      <p:sp>
        <p:nvSpPr>
          <p:cNvPr id="16393" name="Text Box 11"/>
          <p:cNvSpPr txBox="1">
            <a:spLocks noChangeArrowheads="1"/>
          </p:cNvSpPr>
          <p:nvPr/>
        </p:nvSpPr>
        <p:spPr bwMode="auto">
          <a:xfrm>
            <a:off x="2173289" y="1052513"/>
            <a:ext cx="1546225" cy="2206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eaLnBrk="0" hangingPunct="0">
              <a:spcAft>
                <a:spcPct val="15000"/>
              </a:spcAft>
              <a:buSzPct val="70000"/>
              <a:buFont typeface="Wingdings" pitchFamily="2" charset="2"/>
              <a:buNone/>
            </a:pPr>
            <a:r>
              <a:rPr lang="fr-FR" sz="1200" b="1">
                <a:latin typeface="Calibri" pitchFamily="34" charset="0"/>
              </a:rPr>
              <a:t>Vue aérienne </a:t>
            </a:r>
          </a:p>
        </p:txBody>
      </p:sp>
      <p:sp>
        <p:nvSpPr>
          <p:cNvPr id="16394" name="Text Box 12"/>
          <p:cNvSpPr txBox="1">
            <a:spLocks noChangeArrowheads="1"/>
          </p:cNvSpPr>
          <p:nvPr/>
        </p:nvSpPr>
        <p:spPr bwMode="auto">
          <a:xfrm>
            <a:off x="4967289" y="1052513"/>
            <a:ext cx="2784475" cy="2206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Aft>
                <a:spcPct val="15000"/>
              </a:spcAft>
              <a:buSzPct val="70000"/>
              <a:buFont typeface="Wingdings" pitchFamily="2" charset="2"/>
              <a:buNone/>
            </a:pPr>
            <a:r>
              <a:rPr lang="fr-FR" sz="1200" b="1">
                <a:latin typeface="Calibri" pitchFamily="34" charset="0"/>
              </a:rPr>
              <a:t>Passerelles télescopiques</a:t>
            </a:r>
          </a:p>
        </p:txBody>
      </p:sp>
      <p:sp>
        <p:nvSpPr>
          <p:cNvPr id="16395" name="Text Box 12"/>
          <p:cNvSpPr txBox="1">
            <a:spLocks noChangeArrowheads="1"/>
          </p:cNvSpPr>
          <p:nvPr/>
        </p:nvSpPr>
        <p:spPr bwMode="auto">
          <a:xfrm>
            <a:off x="7248525" y="1052513"/>
            <a:ext cx="2400300" cy="222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eaLnBrk="0" hangingPunct="0">
              <a:spcAft>
                <a:spcPct val="15000"/>
              </a:spcAft>
              <a:buSzPct val="70000"/>
              <a:buFont typeface="Wingdings" pitchFamily="2" charset="2"/>
              <a:buNone/>
            </a:pPr>
            <a:r>
              <a:rPr lang="fr-FR" sz="1200" b="1">
                <a:latin typeface="Calibri" pitchFamily="34" charset="0"/>
              </a:rPr>
              <a:t>Piste  &amp; taxiway </a:t>
            </a:r>
          </a:p>
        </p:txBody>
      </p:sp>
      <p:graphicFrame>
        <p:nvGraphicFramePr>
          <p:cNvPr id="21" name="Tableau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5000211"/>
              </p:ext>
            </p:extLst>
          </p:nvPr>
        </p:nvGraphicFramePr>
        <p:xfrm>
          <a:off x="1238250" y="1768115"/>
          <a:ext cx="9620250" cy="4967774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339614"/>
                <a:gridCol w="5661136"/>
                <a:gridCol w="3619500"/>
              </a:tblGrid>
              <a:tr h="1843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N°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ITEM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AIBD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</a:tr>
              <a:tr h="1577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1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SUPERFICIE 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4 500 ha 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</a:tr>
              <a:tr h="64408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2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PISTES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Principale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 smtClean="0"/>
                        <a:t>Précision </a:t>
                      </a:r>
                      <a:r>
                        <a:rPr lang="fr-FR" sz="1400" dirty="0"/>
                        <a:t>d’Approche </a:t>
                      </a:r>
                      <a:r>
                        <a:rPr lang="fr-FR" sz="1400" dirty="0" smtClean="0"/>
                        <a:t> et d’Atterrissage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endParaRPr lang="fr-FR" sz="14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3500 m x 75 m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 smtClean="0"/>
                        <a:t>ILS  </a:t>
                      </a:r>
                      <a:r>
                        <a:rPr lang="fr-FR" sz="1400" dirty="0"/>
                        <a:t>Cat 2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</a:tr>
              <a:tr h="47320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2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TAXIWAYS (voies de circulations Avions)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Nombres de sorties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Linéaire 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endParaRPr lang="fr-FR" sz="14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07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12.5 km 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</a:tr>
              <a:tr h="3058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3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Parking Avions 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 smtClean="0"/>
                        <a:t>79</a:t>
                      </a:r>
                      <a:endParaRPr lang="fr-FR" sz="1400" b="1" dirty="0" smtClean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</a:tr>
              <a:tr h="184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4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Distribution de Carburant par hydrant system 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kern="1200" dirty="0" smtClean="0"/>
                        <a:t>26</a:t>
                      </a:r>
                      <a:endParaRPr lang="fr-FR" sz="1400" b="1" kern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</a:tr>
              <a:tr h="7098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5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Aérogare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Superficie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Niveaux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Passerelles 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endParaRPr lang="fr-FR" sz="14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42 000 m²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2+mezzanine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6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</a:tr>
              <a:tr h="8675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6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Capacité/an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Passagers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Fret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Mouvement avions commerciaux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SzPts val="1200"/>
                        <a:buFont typeface="Symbol"/>
                        <a:buChar char=""/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Parking auto 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endParaRPr lang="fr-FR" sz="14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3 M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50 000 t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80 000 </a:t>
                      </a:r>
                      <a:r>
                        <a:rPr lang="fr-FR" sz="1400" dirty="0" err="1"/>
                        <a:t>mvts</a:t>
                      </a:r>
                      <a:r>
                        <a:rPr lang="fr-FR" sz="1400" dirty="0"/>
                        <a:t> /an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700 places + 60 bus + 60 taxis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</a:tr>
              <a:tr h="23660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b="1" dirty="0"/>
                        <a:t>7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Qualité de service IATA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72255" algn="l"/>
                        </a:tabLst>
                      </a:pPr>
                      <a:r>
                        <a:rPr lang="fr-FR" sz="1400" dirty="0"/>
                        <a:t> B</a:t>
                      </a:r>
                      <a:endParaRPr lang="fr-F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80" marR="42980" marT="0" marB="0"/>
                </a:tc>
              </a:tr>
            </a:tbl>
          </a:graphicData>
        </a:graphic>
      </p:graphicFrame>
      <p:sp>
        <p:nvSpPr>
          <p:cNvPr id="16451" name="Rectangle 23"/>
          <p:cNvSpPr>
            <a:spLocks noChangeArrowheads="1"/>
          </p:cNvSpPr>
          <p:nvPr/>
        </p:nvSpPr>
        <p:spPr bwMode="auto">
          <a:xfrm>
            <a:off x="1774825" y="188914"/>
            <a:ext cx="86423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/>
            <a:r>
              <a:rPr lang="fr-FR" sz="2400" b="1" dirty="0">
                <a:solidFill>
                  <a:srgbClr val="002060"/>
                </a:solidFill>
              </a:rPr>
              <a:t>INNOVATIONS SUR LE PLAN TECHNIQUE</a:t>
            </a:r>
          </a:p>
        </p:txBody>
      </p:sp>
      <p:sp>
        <p:nvSpPr>
          <p:cNvPr id="24" name="Espace réservé du pied de page 23"/>
          <p:cNvSpPr>
            <a:spLocks noGrp="1"/>
          </p:cNvSpPr>
          <p:nvPr>
            <p:ph type="ftr" sz="quarter" idx="11"/>
          </p:nvPr>
        </p:nvSpPr>
        <p:spPr>
          <a:xfrm>
            <a:off x="8184232" y="6619876"/>
            <a:ext cx="2483768" cy="238125"/>
          </a:xfrm>
        </p:spPr>
        <p:txBody>
          <a:bodyPr/>
          <a:lstStyle/>
          <a:p>
            <a:pPr>
              <a:defRPr/>
            </a:pPr>
            <a:r>
              <a:rPr lang="fr-FR" b="1" smtClean="0">
                <a:solidFill>
                  <a:srgbClr val="002060"/>
                </a:solidFill>
              </a:rPr>
              <a:t>30 MARS 2017</a:t>
            </a:r>
            <a:endParaRPr lang="fr-FR" dirty="0"/>
          </a:p>
        </p:txBody>
      </p:sp>
      <p:sp>
        <p:nvSpPr>
          <p:cNvPr id="23" name="Espace réservé du numéro de diapositive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2D0B25-C673-4E76-95CE-8D3497B5F469}" type="slidenum">
              <a:rPr lang="fr-FR" smtClean="0"/>
              <a:pPr>
                <a:defRPr/>
              </a:pPr>
              <a:t>8</a:t>
            </a:fld>
            <a:endParaRPr lang="fr-FR"/>
          </a:p>
        </p:txBody>
      </p:sp>
      <p:pic>
        <p:nvPicPr>
          <p:cNvPr id="25" name="Shape 280"/>
          <p:cNvPicPr preferRelativeResize="0"/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812425" y="0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Image 25" descr="AIBD sa"/>
          <p:cNvPicPr/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110005" y="130416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21919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745"/>
          <p:cNvPicPr>
            <a:picLocks noGrp="1"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5790879" y="2925490"/>
            <a:ext cx="900112" cy="631825"/>
          </a:xfrm>
          <a:prstGeom prst="rect">
            <a:avLst/>
          </a:prstGeom>
          <a:noFill/>
          <a:ln/>
        </p:spPr>
      </p:pic>
      <p:sp>
        <p:nvSpPr>
          <p:cNvPr id="12" name="Espace réservé du numéro de diapositive 3"/>
          <p:cNvSpPr>
            <a:spLocks noGrp="1"/>
          </p:cNvSpPr>
          <p:nvPr/>
        </p:nvSpPr>
        <p:spPr>
          <a:xfrm>
            <a:off x="6170291" y="6078268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GB"/>
            </a:defPPr>
            <a:lvl1pPr algn="r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fld id="{0AC0BF01-1945-4AC1-B594-8E30D02EF1C2}" type="slidenum">
              <a:rPr lang="en-GB"/>
              <a:pPr/>
              <a:t>9</a:t>
            </a:fld>
            <a:endParaRPr lang="en-GB"/>
          </a:p>
        </p:txBody>
      </p:sp>
      <p:sp>
        <p:nvSpPr>
          <p:cNvPr id="13" name="AutoShape 674"/>
          <p:cNvSpPr>
            <a:spLocks noChangeArrowheads="1"/>
          </p:cNvSpPr>
          <p:nvPr/>
        </p:nvSpPr>
        <p:spPr bwMode="auto">
          <a:xfrm>
            <a:off x="2385936" y="1158477"/>
            <a:ext cx="8208912" cy="5256584"/>
          </a:xfrm>
          <a:prstGeom prst="roundRect">
            <a:avLst>
              <a:gd name="adj" fmla="val 6505"/>
            </a:avLst>
          </a:pr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tint val="34118"/>
                  <a:invGamma/>
                </a:schemeClr>
              </a:gs>
            </a:gsLst>
            <a:lin ang="5400000" scaled="1"/>
          </a:gradFill>
          <a:ln w="12700">
            <a:solidFill>
              <a:srgbClr val="000080"/>
            </a:solidFill>
            <a:round/>
            <a:headEnd/>
            <a:tailEnd/>
          </a:ln>
          <a:effectLst/>
        </p:spPr>
        <p:txBody>
          <a:bodyPr wrap="none" lIns="18000" tIns="18000" rIns="18000" bIns="18000" anchor="ctr"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grpSp>
        <p:nvGrpSpPr>
          <p:cNvPr id="2" name="Group 343"/>
          <p:cNvGrpSpPr>
            <a:grpSpLocks/>
          </p:cNvGrpSpPr>
          <p:nvPr/>
        </p:nvGrpSpPr>
        <p:grpSpPr bwMode="auto">
          <a:xfrm>
            <a:off x="6744072" y="1340768"/>
            <a:ext cx="3384376" cy="1296144"/>
            <a:chOff x="5176" y="1316"/>
            <a:chExt cx="658" cy="404"/>
          </a:xfrm>
        </p:grpSpPr>
        <p:grpSp>
          <p:nvGrpSpPr>
            <p:cNvPr id="3" name="Group 304"/>
            <p:cNvGrpSpPr>
              <a:grpSpLocks/>
            </p:cNvGrpSpPr>
            <p:nvPr/>
          </p:nvGrpSpPr>
          <p:grpSpPr bwMode="auto">
            <a:xfrm>
              <a:off x="5176" y="1316"/>
              <a:ext cx="658" cy="287"/>
              <a:chOff x="5176" y="1316"/>
              <a:chExt cx="658" cy="287"/>
            </a:xfrm>
          </p:grpSpPr>
          <p:sp>
            <p:nvSpPr>
              <p:cNvPr id="336" name="Rectangle 335"/>
              <p:cNvSpPr>
                <a:spLocks noChangeArrowheads="1"/>
              </p:cNvSpPr>
              <p:nvPr/>
            </p:nvSpPr>
            <p:spPr bwMode="auto">
              <a:xfrm>
                <a:off x="5176" y="1316"/>
                <a:ext cx="658" cy="8"/>
              </a:xfrm>
              <a:prstGeom prst="rect">
                <a:avLst/>
              </a:prstGeom>
              <a:solidFill>
                <a:srgbClr val="FDD54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37" name="Picture 105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76" y="1316"/>
                <a:ext cx="658" cy="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38" name="Rectangle 337"/>
              <p:cNvSpPr>
                <a:spLocks noChangeArrowheads="1"/>
              </p:cNvSpPr>
              <p:nvPr/>
            </p:nvSpPr>
            <p:spPr bwMode="auto">
              <a:xfrm>
                <a:off x="5176" y="1316"/>
                <a:ext cx="658" cy="8"/>
              </a:xfrm>
              <a:prstGeom prst="rect">
                <a:avLst/>
              </a:prstGeom>
              <a:solidFill>
                <a:srgbClr val="FDD54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39" name="Rectangle 338"/>
              <p:cNvSpPr>
                <a:spLocks noChangeArrowheads="1"/>
              </p:cNvSpPr>
              <p:nvPr/>
            </p:nvSpPr>
            <p:spPr bwMode="auto">
              <a:xfrm>
                <a:off x="5176" y="1324"/>
                <a:ext cx="658" cy="3"/>
              </a:xfrm>
              <a:prstGeom prst="rect">
                <a:avLst/>
              </a:prstGeom>
              <a:solidFill>
                <a:srgbClr val="FBD54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40" name="Picture 10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176" y="1324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41" name="Rectangle 340"/>
              <p:cNvSpPr>
                <a:spLocks noChangeArrowheads="1"/>
              </p:cNvSpPr>
              <p:nvPr/>
            </p:nvSpPr>
            <p:spPr bwMode="auto">
              <a:xfrm>
                <a:off x="5176" y="1324"/>
                <a:ext cx="658" cy="3"/>
              </a:xfrm>
              <a:prstGeom prst="rect">
                <a:avLst/>
              </a:prstGeom>
              <a:solidFill>
                <a:srgbClr val="FBD54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42" name="Rectangle 341"/>
              <p:cNvSpPr>
                <a:spLocks noChangeArrowheads="1"/>
              </p:cNvSpPr>
              <p:nvPr/>
            </p:nvSpPr>
            <p:spPr bwMode="auto">
              <a:xfrm>
                <a:off x="5176" y="1327"/>
                <a:ext cx="658" cy="17"/>
              </a:xfrm>
              <a:prstGeom prst="rect">
                <a:avLst/>
              </a:prstGeom>
              <a:solidFill>
                <a:srgbClr val="FBD34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43" name="Picture 111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5176" y="1327"/>
                <a:ext cx="658" cy="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44" name="Rectangle 343"/>
              <p:cNvSpPr>
                <a:spLocks noChangeArrowheads="1"/>
              </p:cNvSpPr>
              <p:nvPr/>
            </p:nvSpPr>
            <p:spPr bwMode="auto">
              <a:xfrm>
                <a:off x="5176" y="1327"/>
                <a:ext cx="658" cy="17"/>
              </a:xfrm>
              <a:prstGeom prst="rect">
                <a:avLst/>
              </a:prstGeom>
              <a:solidFill>
                <a:srgbClr val="FBD34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45" name="Rectangle 344"/>
              <p:cNvSpPr>
                <a:spLocks noChangeArrowheads="1"/>
              </p:cNvSpPr>
              <p:nvPr/>
            </p:nvSpPr>
            <p:spPr bwMode="auto">
              <a:xfrm>
                <a:off x="5176" y="1344"/>
                <a:ext cx="658" cy="5"/>
              </a:xfrm>
              <a:prstGeom prst="rect">
                <a:avLst/>
              </a:prstGeom>
              <a:solidFill>
                <a:srgbClr val="FBD24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46" name="Picture 114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5176" y="1344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47" name="Rectangle 346"/>
              <p:cNvSpPr>
                <a:spLocks noChangeArrowheads="1"/>
              </p:cNvSpPr>
              <p:nvPr/>
            </p:nvSpPr>
            <p:spPr bwMode="auto">
              <a:xfrm>
                <a:off x="5176" y="1344"/>
                <a:ext cx="658" cy="5"/>
              </a:xfrm>
              <a:prstGeom prst="rect">
                <a:avLst/>
              </a:prstGeom>
              <a:solidFill>
                <a:srgbClr val="FBD24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48" name="Rectangle 347"/>
              <p:cNvSpPr>
                <a:spLocks noChangeArrowheads="1"/>
              </p:cNvSpPr>
              <p:nvPr/>
            </p:nvSpPr>
            <p:spPr bwMode="auto">
              <a:xfrm>
                <a:off x="5176" y="1349"/>
                <a:ext cx="658" cy="9"/>
              </a:xfrm>
              <a:prstGeom prst="rect">
                <a:avLst/>
              </a:prstGeom>
              <a:solidFill>
                <a:srgbClr val="F9D24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49" name="Picture 117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76" y="1349"/>
                <a:ext cx="658" cy="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50" name="Rectangle 349"/>
              <p:cNvSpPr>
                <a:spLocks noChangeArrowheads="1"/>
              </p:cNvSpPr>
              <p:nvPr/>
            </p:nvSpPr>
            <p:spPr bwMode="auto">
              <a:xfrm>
                <a:off x="5176" y="1349"/>
                <a:ext cx="658" cy="9"/>
              </a:xfrm>
              <a:prstGeom prst="rect">
                <a:avLst/>
              </a:prstGeom>
              <a:solidFill>
                <a:srgbClr val="F9D24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51" name="Rectangle 350"/>
              <p:cNvSpPr>
                <a:spLocks noChangeArrowheads="1"/>
              </p:cNvSpPr>
              <p:nvPr/>
            </p:nvSpPr>
            <p:spPr bwMode="auto">
              <a:xfrm>
                <a:off x="5176" y="1358"/>
                <a:ext cx="658" cy="8"/>
              </a:xfrm>
              <a:prstGeom prst="rect">
                <a:avLst/>
              </a:prstGeom>
              <a:solidFill>
                <a:srgbClr val="F9D23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52" name="Picture 120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76" y="1358"/>
                <a:ext cx="658" cy="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53" name="Rectangle 352"/>
              <p:cNvSpPr>
                <a:spLocks noChangeArrowheads="1"/>
              </p:cNvSpPr>
              <p:nvPr/>
            </p:nvSpPr>
            <p:spPr bwMode="auto">
              <a:xfrm>
                <a:off x="5176" y="1358"/>
                <a:ext cx="658" cy="8"/>
              </a:xfrm>
              <a:prstGeom prst="rect">
                <a:avLst/>
              </a:prstGeom>
              <a:solidFill>
                <a:srgbClr val="F9D23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54" name="Rectangle 353"/>
              <p:cNvSpPr>
                <a:spLocks noChangeArrowheads="1"/>
              </p:cNvSpPr>
              <p:nvPr/>
            </p:nvSpPr>
            <p:spPr bwMode="auto">
              <a:xfrm>
                <a:off x="5176" y="1366"/>
                <a:ext cx="658" cy="1"/>
              </a:xfrm>
              <a:prstGeom prst="rect">
                <a:avLst/>
              </a:prstGeom>
              <a:solidFill>
                <a:srgbClr val="F7D14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55" name="Picture 123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5176" y="1366"/>
                <a:ext cx="658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56" name="Rectangle 355"/>
              <p:cNvSpPr>
                <a:spLocks noChangeArrowheads="1"/>
              </p:cNvSpPr>
              <p:nvPr/>
            </p:nvSpPr>
            <p:spPr bwMode="auto">
              <a:xfrm>
                <a:off x="5176" y="1366"/>
                <a:ext cx="658" cy="1"/>
              </a:xfrm>
              <a:prstGeom prst="rect">
                <a:avLst/>
              </a:prstGeom>
              <a:solidFill>
                <a:srgbClr val="F7D14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57" name="Rectangle 356"/>
              <p:cNvSpPr>
                <a:spLocks noChangeArrowheads="1"/>
              </p:cNvSpPr>
              <p:nvPr/>
            </p:nvSpPr>
            <p:spPr bwMode="auto">
              <a:xfrm>
                <a:off x="5176" y="1367"/>
                <a:ext cx="658" cy="7"/>
              </a:xfrm>
              <a:prstGeom prst="rect">
                <a:avLst/>
              </a:prstGeom>
              <a:solidFill>
                <a:srgbClr val="F7D13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58" name="Picture 126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5176" y="1367"/>
                <a:ext cx="658" cy="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59" name="Rectangle 358"/>
              <p:cNvSpPr>
                <a:spLocks noChangeArrowheads="1"/>
              </p:cNvSpPr>
              <p:nvPr/>
            </p:nvSpPr>
            <p:spPr bwMode="auto">
              <a:xfrm>
                <a:off x="5176" y="1367"/>
                <a:ext cx="658" cy="7"/>
              </a:xfrm>
              <a:prstGeom prst="rect">
                <a:avLst/>
              </a:prstGeom>
              <a:solidFill>
                <a:srgbClr val="F7D13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60" name="Rectangle 359"/>
              <p:cNvSpPr>
                <a:spLocks noChangeArrowheads="1"/>
              </p:cNvSpPr>
              <p:nvPr/>
            </p:nvSpPr>
            <p:spPr bwMode="auto">
              <a:xfrm>
                <a:off x="5176" y="1374"/>
                <a:ext cx="658" cy="6"/>
              </a:xfrm>
              <a:prstGeom prst="rect">
                <a:avLst/>
              </a:prstGeom>
              <a:solidFill>
                <a:srgbClr val="F7CF3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61" name="Picture 129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5176" y="1374"/>
                <a:ext cx="658" cy="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62" name="Rectangle 361"/>
              <p:cNvSpPr>
                <a:spLocks noChangeArrowheads="1"/>
              </p:cNvSpPr>
              <p:nvPr/>
            </p:nvSpPr>
            <p:spPr bwMode="auto">
              <a:xfrm>
                <a:off x="5176" y="1374"/>
                <a:ext cx="658" cy="6"/>
              </a:xfrm>
              <a:prstGeom prst="rect">
                <a:avLst/>
              </a:prstGeom>
              <a:solidFill>
                <a:srgbClr val="F7CF3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63" name="Rectangle 362"/>
              <p:cNvSpPr>
                <a:spLocks noChangeArrowheads="1"/>
              </p:cNvSpPr>
              <p:nvPr/>
            </p:nvSpPr>
            <p:spPr bwMode="auto">
              <a:xfrm>
                <a:off x="5176" y="1380"/>
                <a:ext cx="658" cy="1"/>
              </a:xfrm>
              <a:prstGeom prst="rect">
                <a:avLst/>
              </a:prstGeom>
              <a:solidFill>
                <a:srgbClr val="F7CE3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64" name="Picture 132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5176" y="1380"/>
                <a:ext cx="658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65" name="Rectangle 364"/>
              <p:cNvSpPr>
                <a:spLocks noChangeArrowheads="1"/>
              </p:cNvSpPr>
              <p:nvPr/>
            </p:nvSpPr>
            <p:spPr bwMode="auto">
              <a:xfrm>
                <a:off x="5176" y="1380"/>
                <a:ext cx="658" cy="1"/>
              </a:xfrm>
              <a:prstGeom prst="rect">
                <a:avLst/>
              </a:prstGeom>
              <a:solidFill>
                <a:srgbClr val="F7CE3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66" name="Rectangle 365"/>
              <p:cNvSpPr>
                <a:spLocks noChangeArrowheads="1"/>
              </p:cNvSpPr>
              <p:nvPr/>
            </p:nvSpPr>
            <p:spPr bwMode="auto">
              <a:xfrm>
                <a:off x="5176" y="1381"/>
                <a:ext cx="658" cy="8"/>
              </a:xfrm>
              <a:prstGeom prst="rect">
                <a:avLst/>
              </a:prstGeom>
              <a:solidFill>
                <a:srgbClr val="F5CE3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67" name="Picture 135"/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5176" y="1381"/>
                <a:ext cx="658" cy="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68" name="Rectangle 367"/>
              <p:cNvSpPr>
                <a:spLocks noChangeArrowheads="1"/>
              </p:cNvSpPr>
              <p:nvPr/>
            </p:nvSpPr>
            <p:spPr bwMode="auto">
              <a:xfrm>
                <a:off x="5176" y="1381"/>
                <a:ext cx="658" cy="8"/>
              </a:xfrm>
              <a:prstGeom prst="rect">
                <a:avLst/>
              </a:prstGeom>
              <a:solidFill>
                <a:srgbClr val="F5CE3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69" name="Rectangle 368"/>
              <p:cNvSpPr>
                <a:spLocks noChangeArrowheads="1"/>
              </p:cNvSpPr>
              <p:nvPr/>
            </p:nvSpPr>
            <p:spPr bwMode="auto">
              <a:xfrm>
                <a:off x="5176" y="1389"/>
                <a:ext cx="658" cy="4"/>
              </a:xfrm>
              <a:prstGeom prst="rect">
                <a:avLst/>
              </a:prstGeom>
              <a:solidFill>
                <a:srgbClr val="F5CD3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70" name="Picture 138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5176" y="1389"/>
                <a:ext cx="658" cy="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71" name="Rectangle 370"/>
              <p:cNvSpPr>
                <a:spLocks noChangeArrowheads="1"/>
              </p:cNvSpPr>
              <p:nvPr/>
            </p:nvSpPr>
            <p:spPr bwMode="auto">
              <a:xfrm>
                <a:off x="5176" y="1389"/>
                <a:ext cx="658" cy="4"/>
              </a:xfrm>
              <a:prstGeom prst="rect">
                <a:avLst/>
              </a:prstGeom>
              <a:solidFill>
                <a:srgbClr val="F5CD3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72" name="Rectangle 371"/>
              <p:cNvSpPr>
                <a:spLocks noChangeArrowheads="1"/>
              </p:cNvSpPr>
              <p:nvPr/>
            </p:nvSpPr>
            <p:spPr bwMode="auto">
              <a:xfrm>
                <a:off x="5176" y="1393"/>
                <a:ext cx="658" cy="4"/>
              </a:xfrm>
              <a:prstGeom prst="rect">
                <a:avLst/>
              </a:prstGeom>
              <a:solidFill>
                <a:srgbClr val="F3CD3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73" name="Picture 141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5176" y="1393"/>
                <a:ext cx="658" cy="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74" name="Rectangle 373"/>
              <p:cNvSpPr>
                <a:spLocks noChangeArrowheads="1"/>
              </p:cNvSpPr>
              <p:nvPr/>
            </p:nvSpPr>
            <p:spPr bwMode="auto">
              <a:xfrm>
                <a:off x="5176" y="1393"/>
                <a:ext cx="658" cy="4"/>
              </a:xfrm>
              <a:prstGeom prst="rect">
                <a:avLst/>
              </a:prstGeom>
              <a:solidFill>
                <a:srgbClr val="F3CD3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75" name="Rectangle 374"/>
              <p:cNvSpPr>
                <a:spLocks noChangeArrowheads="1"/>
              </p:cNvSpPr>
              <p:nvPr/>
            </p:nvSpPr>
            <p:spPr bwMode="auto">
              <a:xfrm>
                <a:off x="5176" y="1397"/>
                <a:ext cx="658" cy="2"/>
              </a:xfrm>
              <a:prstGeom prst="rect">
                <a:avLst/>
              </a:prstGeom>
              <a:solidFill>
                <a:srgbClr val="F4CC3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76" name="Picture 144"/>
              <p:cNvPicPr>
                <a:picLocks noChangeAspect="1"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>
                <a:off x="5176" y="1397"/>
                <a:ext cx="658" cy="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77" name="Rectangle 376"/>
              <p:cNvSpPr>
                <a:spLocks noChangeArrowheads="1"/>
              </p:cNvSpPr>
              <p:nvPr/>
            </p:nvSpPr>
            <p:spPr bwMode="auto">
              <a:xfrm>
                <a:off x="5176" y="1397"/>
                <a:ext cx="658" cy="2"/>
              </a:xfrm>
              <a:prstGeom prst="rect">
                <a:avLst/>
              </a:prstGeom>
              <a:solidFill>
                <a:srgbClr val="F4CC3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78" name="Rectangle 377"/>
              <p:cNvSpPr>
                <a:spLocks noChangeArrowheads="1"/>
              </p:cNvSpPr>
              <p:nvPr/>
            </p:nvSpPr>
            <p:spPr bwMode="auto">
              <a:xfrm>
                <a:off x="5176" y="1399"/>
                <a:ext cx="658" cy="6"/>
              </a:xfrm>
              <a:prstGeom prst="rect">
                <a:avLst/>
              </a:prstGeom>
              <a:solidFill>
                <a:srgbClr val="F2CC3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79" name="Picture 147"/>
              <p:cNvPicPr>
                <a:picLocks noChangeAspect="1" noChangeArrowheads="1"/>
              </p:cNvPicPr>
              <p:nvPr/>
            </p:nvPicPr>
            <p:blipFill>
              <a:blip r:embed="rId18" cstate="print"/>
              <a:srcRect/>
              <a:stretch>
                <a:fillRect/>
              </a:stretch>
            </p:blipFill>
            <p:spPr bwMode="auto">
              <a:xfrm>
                <a:off x="5176" y="1399"/>
                <a:ext cx="658" cy="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80" name="Rectangle 379"/>
              <p:cNvSpPr>
                <a:spLocks noChangeArrowheads="1"/>
              </p:cNvSpPr>
              <p:nvPr/>
            </p:nvSpPr>
            <p:spPr bwMode="auto">
              <a:xfrm>
                <a:off x="5176" y="1399"/>
                <a:ext cx="658" cy="6"/>
              </a:xfrm>
              <a:prstGeom prst="rect">
                <a:avLst/>
              </a:prstGeom>
              <a:solidFill>
                <a:srgbClr val="F2CC3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81" name="Rectangle 380"/>
              <p:cNvSpPr>
                <a:spLocks noChangeArrowheads="1"/>
              </p:cNvSpPr>
              <p:nvPr/>
            </p:nvSpPr>
            <p:spPr bwMode="auto">
              <a:xfrm>
                <a:off x="5176" y="1405"/>
                <a:ext cx="658" cy="5"/>
              </a:xfrm>
              <a:prstGeom prst="rect">
                <a:avLst/>
              </a:prstGeom>
              <a:solidFill>
                <a:srgbClr val="F2CB3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82" name="Picture 150"/>
              <p:cNvPicPr>
                <a:picLocks noChangeAspect="1" noChangeArrowheads="1"/>
              </p:cNvPicPr>
              <p:nvPr/>
            </p:nvPicPr>
            <p:blipFill>
              <a:blip r:embed="rId19" cstate="print"/>
              <a:srcRect/>
              <a:stretch>
                <a:fillRect/>
              </a:stretch>
            </p:blipFill>
            <p:spPr bwMode="auto">
              <a:xfrm>
                <a:off x="5176" y="1405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83" name="Rectangle 382"/>
              <p:cNvSpPr>
                <a:spLocks noChangeArrowheads="1"/>
              </p:cNvSpPr>
              <p:nvPr/>
            </p:nvSpPr>
            <p:spPr bwMode="auto">
              <a:xfrm>
                <a:off x="5176" y="1405"/>
                <a:ext cx="658" cy="5"/>
              </a:xfrm>
              <a:prstGeom prst="rect">
                <a:avLst/>
              </a:prstGeom>
              <a:solidFill>
                <a:srgbClr val="F2CB3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84" name="Rectangle 383"/>
              <p:cNvSpPr>
                <a:spLocks noChangeArrowheads="1"/>
              </p:cNvSpPr>
              <p:nvPr/>
            </p:nvSpPr>
            <p:spPr bwMode="auto">
              <a:xfrm>
                <a:off x="5176" y="1410"/>
                <a:ext cx="658" cy="5"/>
              </a:xfrm>
              <a:prstGeom prst="rect">
                <a:avLst/>
              </a:prstGeom>
              <a:solidFill>
                <a:srgbClr val="F0CB3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85" name="Picture 153"/>
              <p:cNvPicPr>
                <a:picLocks noChangeAspect="1" noChangeArrowheads="1"/>
              </p:cNvPicPr>
              <p:nvPr/>
            </p:nvPicPr>
            <p:blipFill>
              <a:blip r:embed="rId20" cstate="print"/>
              <a:srcRect/>
              <a:stretch>
                <a:fillRect/>
              </a:stretch>
            </p:blipFill>
            <p:spPr bwMode="auto">
              <a:xfrm>
                <a:off x="5176" y="1410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86" name="Rectangle 385"/>
              <p:cNvSpPr>
                <a:spLocks noChangeArrowheads="1"/>
              </p:cNvSpPr>
              <p:nvPr/>
            </p:nvSpPr>
            <p:spPr bwMode="auto">
              <a:xfrm>
                <a:off x="5176" y="1410"/>
                <a:ext cx="658" cy="5"/>
              </a:xfrm>
              <a:prstGeom prst="rect">
                <a:avLst/>
              </a:prstGeom>
              <a:solidFill>
                <a:srgbClr val="F0CB3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87" name="Rectangle 386"/>
              <p:cNvSpPr>
                <a:spLocks noChangeArrowheads="1"/>
              </p:cNvSpPr>
              <p:nvPr/>
            </p:nvSpPr>
            <p:spPr bwMode="auto">
              <a:xfrm>
                <a:off x="5176" y="1415"/>
                <a:ext cx="658" cy="6"/>
              </a:xfrm>
              <a:prstGeom prst="rect">
                <a:avLst/>
              </a:prstGeom>
              <a:solidFill>
                <a:srgbClr val="EFCA3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88" name="Picture 156"/>
              <p:cNvPicPr>
                <a:picLocks noChangeAspect="1" noChangeArrowheads="1"/>
              </p:cNvPicPr>
              <p:nvPr/>
            </p:nvPicPr>
            <p:blipFill>
              <a:blip r:embed="rId21" cstate="print"/>
              <a:srcRect/>
              <a:stretch>
                <a:fillRect/>
              </a:stretch>
            </p:blipFill>
            <p:spPr bwMode="auto">
              <a:xfrm>
                <a:off x="5176" y="1415"/>
                <a:ext cx="658" cy="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89" name="Rectangle 388"/>
              <p:cNvSpPr>
                <a:spLocks noChangeArrowheads="1"/>
              </p:cNvSpPr>
              <p:nvPr/>
            </p:nvSpPr>
            <p:spPr bwMode="auto">
              <a:xfrm>
                <a:off x="5176" y="1415"/>
                <a:ext cx="658" cy="6"/>
              </a:xfrm>
              <a:prstGeom prst="rect">
                <a:avLst/>
              </a:prstGeom>
              <a:solidFill>
                <a:srgbClr val="EFCA3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90" name="Rectangle 389"/>
              <p:cNvSpPr>
                <a:spLocks noChangeArrowheads="1"/>
              </p:cNvSpPr>
              <p:nvPr/>
            </p:nvSpPr>
            <p:spPr bwMode="auto">
              <a:xfrm>
                <a:off x="5176" y="1421"/>
                <a:ext cx="658" cy="3"/>
              </a:xfrm>
              <a:prstGeom prst="rect">
                <a:avLst/>
              </a:prstGeom>
              <a:solidFill>
                <a:srgbClr val="EFC93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91" name="Picture 159"/>
              <p:cNvPicPr>
                <a:picLocks noChangeAspect="1" noChangeArrowheads="1"/>
              </p:cNvPicPr>
              <p:nvPr/>
            </p:nvPicPr>
            <p:blipFill>
              <a:blip r:embed="rId22" cstate="print"/>
              <a:srcRect/>
              <a:stretch>
                <a:fillRect/>
              </a:stretch>
            </p:blipFill>
            <p:spPr bwMode="auto">
              <a:xfrm>
                <a:off x="5176" y="1421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92" name="Rectangle 391"/>
              <p:cNvSpPr>
                <a:spLocks noChangeArrowheads="1"/>
              </p:cNvSpPr>
              <p:nvPr/>
            </p:nvSpPr>
            <p:spPr bwMode="auto">
              <a:xfrm>
                <a:off x="5176" y="1421"/>
                <a:ext cx="658" cy="3"/>
              </a:xfrm>
              <a:prstGeom prst="rect">
                <a:avLst/>
              </a:prstGeom>
              <a:solidFill>
                <a:srgbClr val="EFC93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93" name="Rectangle 392"/>
              <p:cNvSpPr>
                <a:spLocks noChangeArrowheads="1"/>
              </p:cNvSpPr>
              <p:nvPr/>
            </p:nvSpPr>
            <p:spPr bwMode="auto">
              <a:xfrm>
                <a:off x="5176" y="1424"/>
                <a:ext cx="658" cy="7"/>
              </a:xfrm>
              <a:prstGeom prst="rect">
                <a:avLst/>
              </a:prstGeom>
              <a:solidFill>
                <a:srgbClr val="EDC83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94" name="Picture 162"/>
              <p:cNvPicPr>
                <a:picLocks noChangeAspect="1" noChangeArrowheads="1"/>
              </p:cNvPicPr>
              <p:nvPr/>
            </p:nvPicPr>
            <p:blipFill>
              <a:blip r:embed="rId23" cstate="print"/>
              <a:srcRect/>
              <a:stretch>
                <a:fillRect/>
              </a:stretch>
            </p:blipFill>
            <p:spPr bwMode="auto">
              <a:xfrm>
                <a:off x="5176" y="1424"/>
                <a:ext cx="658" cy="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95" name="Rectangle 394"/>
              <p:cNvSpPr>
                <a:spLocks noChangeArrowheads="1"/>
              </p:cNvSpPr>
              <p:nvPr/>
            </p:nvSpPr>
            <p:spPr bwMode="auto">
              <a:xfrm>
                <a:off x="5176" y="1424"/>
                <a:ext cx="658" cy="7"/>
              </a:xfrm>
              <a:prstGeom prst="rect">
                <a:avLst/>
              </a:prstGeom>
              <a:solidFill>
                <a:srgbClr val="EDC83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96" name="Rectangle 395"/>
              <p:cNvSpPr>
                <a:spLocks noChangeArrowheads="1"/>
              </p:cNvSpPr>
              <p:nvPr/>
            </p:nvSpPr>
            <p:spPr bwMode="auto">
              <a:xfrm>
                <a:off x="5176" y="1431"/>
                <a:ext cx="658" cy="4"/>
              </a:xfrm>
              <a:prstGeom prst="rect">
                <a:avLst/>
              </a:prstGeom>
              <a:solidFill>
                <a:srgbClr val="ECC73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397" name="Picture 165"/>
              <p:cNvPicPr>
                <a:picLocks noChangeAspect="1" noChangeArrowheads="1"/>
              </p:cNvPicPr>
              <p:nvPr/>
            </p:nvPicPr>
            <p:blipFill>
              <a:blip r:embed="rId24" cstate="print"/>
              <a:srcRect/>
              <a:stretch>
                <a:fillRect/>
              </a:stretch>
            </p:blipFill>
            <p:spPr bwMode="auto">
              <a:xfrm>
                <a:off x="5176" y="1431"/>
                <a:ext cx="658" cy="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98" name="Rectangle 397"/>
              <p:cNvSpPr>
                <a:spLocks noChangeArrowheads="1"/>
              </p:cNvSpPr>
              <p:nvPr/>
            </p:nvSpPr>
            <p:spPr bwMode="auto">
              <a:xfrm>
                <a:off x="5176" y="1431"/>
                <a:ext cx="658" cy="4"/>
              </a:xfrm>
              <a:prstGeom prst="rect">
                <a:avLst/>
              </a:prstGeom>
              <a:solidFill>
                <a:srgbClr val="ECC73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399" name="Rectangle 398"/>
              <p:cNvSpPr>
                <a:spLocks noChangeArrowheads="1"/>
              </p:cNvSpPr>
              <p:nvPr/>
            </p:nvSpPr>
            <p:spPr bwMode="auto">
              <a:xfrm>
                <a:off x="5176" y="1435"/>
                <a:ext cx="658" cy="2"/>
              </a:xfrm>
              <a:prstGeom prst="rect">
                <a:avLst/>
              </a:prstGeom>
              <a:solidFill>
                <a:srgbClr val="ECC63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00" name="Picture 168"/>
              <p:cNvPicPr>
                <a:picLocks noChangeAspect="1" noChangeArrowheads="1"/>
              </p:cNvPicPr>
              <p:nvPr/>
            </p:nvPicPr>
            <p:blipFill>
              <a:blip r:embed="rId25" cstate="print"/>
              <a:srcRect/>
              <a:stretch>
                <a:fillRect/>
              </a:stretch>
            </p:blipFill>
            <p:spPr bwMode="auto">
              <a:xfrm>
                <a:off x="5176" y="1435"/>
                <a:ext cx="658" cy="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01" name="Rectangle 400"/>
              <p:cNvSpPr>
                <a:spLocks noChangeArrowheads="1"/>
              </p:cNvSpPr>
              <p:nvPr/>
            </p:nvSpPr>
            <p:spPr bwMode="auto">
              <a:xfrm>
                <a:off x="5176" y="1435"/>
                <a:ext cx="658" cy="2"/>
              </a:xfrm>
              <a:prstGeom prst="rect">
                <a:avLst/>
              </a:prstGeom>
              <a:solidFill>
                <a:srgbClr val="ECC63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02" name="Rectangle 401"/>
              <p:cNvSpPr>
                <a:spLocks noChangeArrowheads="1"/>
              </p:cNvSpPr>
              <p:nvPr/>
            </p:nvSpPr>
            <p:spPr bwMode="auto">
              <a:xfrm>
                <a:off x="5176" y="1437"/>
                <a:ext cx="658" cy="3"/>
              </a:xfrm>
              <a:prstGeom prst="rect">
                <a:avLst/>
              </a:prstGeom>
              <a:solidFill>
                <a:srgbClr val="EAC63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03" name="Picture 171"/>
              <p:cNvPicPr>
                <a:picLocks noChangeAspect="1" noChangeArrowheads="1"/>
              </p:cNvPicPr>
              <p:nvPr/>
            </p:nvPicPr>
            <p:blipFill>
              <a:blip r:embed="rId26" cstate="print"/>
              <a:srcRect/>
              <a:stretch>
                <a:fillRect/>
              </a:stretch>
            </p:blipFill>
            <p:spPr bwMode="auto">
              <a:xfrm>
                <a:off x="5176" y="1437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04" name="Rectangle 403"/>
              <p:cNvSpPr>
                <a:spLocks noChangeArrowheads="1"/>
              </p:cNvSpPr>
              <p:nvPr/>
            </p:nvSpPr>
            <p:spPr bwMode="auto">
              <a:xfrm>
                <a:off x="5176" y="1437"/>
                <a:ext cx="658" cy="3"/>
              </a:xfrm>
              <a:prstGeom prst="rect">
                <a:avLst/>
              </a:prstGeom>
              <a:solidFill>
                <a:srgbClr val="EAC63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05" name="Rectangle 404"/>
              <p:cNvSpPr>
                <a:spLocks noChangeArrowheads="1"/>
              </p:cNvSpPr>
              <p:nvPr/>
            </p:nvSpPr>
            <p:spPr bwMode="auto">
              <a:xfrm>
                <a:off x="5176" y="1440"/>
                <a:ext cx="658" cy="2"/>
              </a:xfrm>
              <a:prstGeom prst="rect">
                <a:avLst/>
              </a:prstGeom>
              <a:solidFill>
                <a:srgbClr val="EBC53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06" name="Picture 174"/>
              <p:cNvPicPr>
                <a:picLocks noChangeAspect="1" noChangeArrowheads="1"/>
              </p:cNvPicPr>
              <p:nvPr/>
            </p:nvPicPr>
            <p:blipFill>
              <a:blip r:embed="rId27" cstate="print"/>
              <a:srcRect/>
              <a:stretch>
                <a:fillRect/>
              </a:stretch>
            </p:blipFill>
            <p:spPr bwMode="auto">
              <a:xfrm>
                <a:off x="5176" y="1440"/>
                <a:ext cx="658" cy="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07" name="Rectangle 406"/>
              <p:cNvSpPr>
                <a:spLocks noChangeArrowheads="1"/>
              </p:cNvSpPr>
              <p:nvPr/>
            </p:nvSpPr>
            <p:spPr bwMode="auto">
              <a:xfrm>
                <a:off x="5176" y="1440"/>
                <a:ext cx="658" cy="2"/>
              </a:xfrm>
              <a:prstGeom prst="rect">
                <a:avLst/>
              </a:prstGeom>
              <a:solidFill>
                <a:srgbClr val="EBC53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08" name="Rectangle 407"/>
              <p:cNvSpPr>
                <a:spLocks noChangeArrowheads="1"/>
              </p:cNvSpPr>
              <p:nvPr/>
            </p:nvSpPr>
            <p:spPr bwMode="auto">
              <a:xfrm>
                <a:off x="5176" y="1442"/>
                <a:ext cx="658" cy="4"/>
              </a:xfrm>
              <a:prstGeom prst="rect">
                <a:avLst/>
              </a:prstGeom>
              <a:solidFill>
                <a:srgbClr val="E9C53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09" name="Picture 177"/>
              <p:cNvPicPr>
                <a:picLocks noChangeAspect="1" noChangeArrowheads="1"/>
              </p:cNvPicPr>
              <p:nvPr/>
            </p:nvPicPr>
            <p:blipFill>
              <a:blip r:embed="rId28" cstate="print"/>
              <a:srcRect/>
              <a:stretch>
                <a:fillRect/>
              </a:stretch>
            </p:blipFill>
            <p:spPr bwMode="auto">
              <a:xfrm>
                <a:off x="5176" y="1442"/>
                <a:ext cx="658" cy="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10" name="Rectangle 409"/>
              <p:cNvSpPr>
                <a:spLocks noChangeArrowheads="1"/>
              </p:cNvSpPr>
              <p:nvPr/>
            </p:nvSpPr>
            <p:spPr bwMode="auto">
              <a:xfrm>
                <a:off x="5176" y="1442"/>
                <a:ext cx="658" cy="4"/>
              </a:xfrm>
              <a:prstGeom prst="rect">
                <a:avLst/>
              </a:prstGeom>
              <a:solidFill>
                <a:srgbClr val="E9C53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11" name="Rectangle 410"/>
              <p:cNvSpPr>
                <a:spLocks noChangeArrowheads="1"/>
              </p:cNvSpPr>
              <p:nvPr/>
            </p:nvSpPr>
            <p:spPr bwMode="auto">
              <a:xfrm>
                <a:off x="5176" y="1446"/>
                <a:ext cx="658" cy="5"/>
              </a:xfrm>
              <a:prstGeom prst="rect">
                <a:avLst/>
              </a:prstGeom>
              <a:solidFill>
                <a:srgbClr val="E8C43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12" name="Picture 180"/>
              <p:cNvPicPr>
                <a:picLocks noChangeAspect="1" noChangeArrowheads="1"/>
              </p:cNvPicPr>
              <p:nvPr/>
            </p:nvPicPr>
            <p:blipFill>
              <a:blip r:embed="rId29" cstate="print"/>
              <a:srcRect/>
              <a:stretch>
                <a:fillRect/>
              </a:stretch>
            </p:blipFill>
            <p:spPr bwMode="auto">
              <a:xfrm>
                <a:off x="5176" y="1446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13" name="Rectangle 412"/>
              <p:cNvSpPr>
                <a:spLocks noChangeArrowheads="1"/>
              </p:cNvSpPr>
              <p:nvPr/>
            </p:nvSpPr>
            <p:spPr bwMode="auto">
              <a:xfrm>
                <a:off x="5176" y="1446"/>
                <a:ext cx="658" cy="5"/>
              </a:xfrm>
              <a:prstGeom prst="rect">
                <a:avLst/>
              </a:prstGeom>
              <a:solidFill>
                <a:srgbClr val="E8C43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14" name="Rectangle 413"/>
              <p:cNvSpPr>
                <a:spLocks noChangeArrowheads="1"/>
              </p:cNvSpPr>
              <p:nvPr/>
            </p:nvSpPr>
            <p:spPr bwMode="auto">
              <a:xfrm>
                <a:off x="5176" y="1451"/>
                <a:ext cx="658" cy="5"/>
              </a:xfrm>
              <a:prstGeom prst="rect">
                <a:avLst/>
              </a:prstGeom>
              <a:solidFill>
                <a:srgbClr val="E8C33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15" name="Picture 183"/>
              <p:cNvPicPr>
                <a:picLocks noChangeAspect="1" noChangeArrowheads="1"/>
              </p:cNvPicPr>
              <p:nvPr/>
            </p:nvPicPr>
            <p:blipFill>
              <a:blip r:embed="rId30" cstate="print"/>
              <a:srcRect/>
              <a:stretch>
                <a:fillRect/>
              </a:stretch>
            </p:blipFill>
            <p:spPr bwMode="auto">
              <a:xfrm>
                <a:off x="5176" y="1451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16" name="Rectangle 415"/>
              <p:cNvSpPr>
                <a:spLocks noChangeArrowheads="1"/>
              </p:cNvSpPr>
              <p:nvPr/>
            </p:nvSpPr>
            <p:spPr bwMode="auto">
              <a:xfrm>
                <a:off x="5176" y="1451"/>
                <a:ext cx="658" cy="5"/>
              </a:xfrm>
              <a:prstGeom prst="rect">
                <a:avLst/>
              </a:prstGeom>
              <a:solidFill>
                <a:srgbClr val="E8C33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17" name="Rectangle 416"/>
              <p:cNvSpPr>
                <a:spLocks noChangeArrowheads="1"/>
              </p:cNvSpPr>
              <p:nvPr/>
            </p:nvSpPr>
            <p:spPr bwMode="auto">
              <a:xfrm>
                <a:off x="5176" y="1456"/>
                <a:ext cx="658" cy="1"/>
              </a:xfrm>
              <a:prstGeom prst="rect">
                <a:avLst/>
              </a:prstGeom>
              <a:solidFill>
                <a:srgbClr val="E7C13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18" name="Picture 186"/>
              <p:cNvPicPr>
                <a:picLocks noChangeAspect="1" noChangeArrowheads="1"/>
              </p:cNvPicPr>
              <p:nvPr/>
            </p:nvPicPr>
            <p:blipFill>
              <a:blip r:embed="rId31" cstate="print"/>
              <a:srcRect/>
              <a:stretch>
                <a:fillRect/>
              </a:stretch>
            </p:blipFill>
            <p:spPr bwMode="auto">
              <a:xfrm>
                <a:off x="5176" y="1456"/>
                <a:ext cx="658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19" name="Rectangle 418"/>
              <p:cNvSpPr>
                <a:spLocks noChangeArrowheads="1"/>
              </p:cNvSpPr>
              <p:nvPr/>
            </p:nvSpPr>
            <p:spPr bwMode="auto">
              <a:xfrm>
                <a:off x="5176" y="1456"/>
                <a:ext cx="658" cy="1"/>
              </a:xfrm>
              <a:prstGeom prst="rect">
                <a:avLst/>
              </a:prstGeom>
              <a:solidFill>
                <a:srgbClr val="E7C13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20" name="Rectangle 419"/>
              <p:cNvSpPr>
                <a:spLocks noChangeArrowheads="1"/>
              </p:cNvSpPr>
              <p:nvPr/>
            </p:nvSpPr>
            <p:spPr bwMode="auto">
              <a:xfrm>
                <a:off x="5176" y="1457"/>
                <a:ext cx="658" cy="5"/>
              </a:xfrm>
              <a:prstGeom prst="rect">
                <a:avLst/>
              </a:prstGeom>
              <a:solidFill>
                <a:srgbClr val="E5C13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21" name="Picture 189"/>
              <p:cNvPicPr>
                <a:picLocks noChangeAspect="1" noChangeArrowheads="1"/>
              </p:cNvPicPr>
              <p:nvPr/>
            </p:nvPicPr>
            <p:blipFill>
              <a:blip r:embed="rId32" cstate="print"/>
              <a:srcRect/>
              <a:stretch>
                <a:fillRect/>
              </a:stretch>
            </p:blipFill>
            <p:spPr bwMode="auto">
              <a:xfrm>
                <a:off x="5176" y="1457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22" name="Rectangle 421"/>
              <p:cNvSpPr>
                <a:spLocks noChangeArrowheads="1"/>
              </p:cNvSpPr>
              <p:nvPr/>
            </p:nvSpPr>
            <p:spPr bwMode="auto">
              <a:xfrm>
                <a:off x="5176" y="1457"/>
                <a:ext cx="658" cy="5"/>
              </a:xfrm>
              <a:prstGeom prst="rect">
                <a:avLst/>
              </a:prstGeom>
              <a:solidFill>
                <a:srgbClr val="E5C13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23" name="Rectangle 422"/>
              <p:cNvSpPr>
                <a:spLocks noChangeArrowheads="1"/>
              </p:cNvSpPr>
              <p:nvPr/>
            </p:nvSpPr>
            <p:spPr bwMode="auto">
              <a:xfrm>
                <a:off x="5176" y="1462"/>
                <a:ext cx="658" cy="5"/>
              </a:xfrm>
              <a:prstGeom prst="rect">
                <a:avLst/>
              </a:prstGeom>
              <a:solidFill>
                <a:srgbClr val="E4C03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24" name="Picture 192"/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/>
              <a:stretch>
                <a:fillRect/>
              </a:stretch>
            </p:blipFill>
            <p:spPr bwMode="auto">
              <a:xfrm>
                <a:off x="5176" y="1462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25" name="Rectangle 424"/>
              <p:cNvSpPr>
                <a:spLocks noChangeArrowheads="1"/>
              </p:cNvSpPr>
              <p:nvPr/>
            </p:nvSpPr>
            <p:spPr bwMode="auto">
              <a:xfrm>
                <a:off x="5176" y="1462"/>
                <a:ext cx="658" cy="5"/>
              </a:xfrm>
              <a:prstGeom prst="rect">
                <a:avLst/>
              </a:prstGeom>
              <a:solidFill>
                <a:srgbClr val="E4C03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26" name="Rectangle 425"/>
              <p:cNvSpPr>
                <a:spLocks noChangeArrowheads="1"/>
              </p:cNvSpPr>
              <p:nvPr/>
            </p:nvSpPr>
            <p:spPr bwMode="auto">
              <a:xfrm>
                <a:off x="5176" y="1467"/>
                <a:ext cx="658" cy="3"/>
              </a:xfrm>
              <a:prstGeom prst="rect">
                <a:avLst/>
              </a:prstGeom>
              <a:solidFill>
                <a:srgbClr val="E3C03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27" name="Picture 195"/>
              <p:cNvPicPr>
                <a:picLocks noChangeAspect="1" noChangeArrowheads="1"/>
              </p:cNvPicPr>
              <p:nvPr/>
            </p:nvPicPr>
            <p:blipFill>
              <a:blip r:embed="rId34" cstate="print"/>
              <a:srcRect/>
              <a:stretch>
                <a:fillRect/>
              </a:stretch>
            </p:blipFill>
            <p:spPr bwMode="auto">
              <a:xfrm>
                <a:off x="5176" y="1467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28" name="Rectangle 427"/>
              <p:cNvSpPr>
                <a:spLocks noChangeArrowheads="1"/>
              </p:cNvSpPr>
              <p:nvPr/>
            </p:nvSpPr>
            <p:spPr bwMode="auto">
              <a:xfrm>
                <a:off x="5176" y="1467"/>
                <a:ext cx="658" cy="3"/>
              </a:xfrm>
              <a:prstGeom prst="rect">
                <a:avLst/>
              </a:prstGeom>
              <a:solidFill>
                <a:srgbClr val="E3C03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29" name="Rectangle 428"/>
              <p:cNvSpPr>
                <a:spLocks noChangeArrowheads="1"/>
              </p:cNvSpPr>
              <p:nvPr/>
            </p:nvSpPr>
            <p:spPr bwMode="auto">
              <a:xfrm>
                <a:off x="5176" y="1470"/>
                <a:ext cx="658" cy="3"/>
              </a:xfrm>
              <a:prstGeom prst="rect">
                <a:avLst/>
              </a:prstGeom>
              <a:solidFill>
                <a:srgbClr val="E3BE3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30" name="Picture 198"/>
              <p:cNvPicPr>
                <a:picLocks noChangeAspect="1" noChangeArrowheads="1"/>
              </p:cNvPicPr>
              <p:nvPr/>
            </p:nvPicPr>
            <p:blipFill>
              <a:blip r:embed="rId35" cstate="print"/>
              <a:srcRect/>
              <a:stretch>
                <a:fillRect/>
              </a:stretch>
            </p:blipFill>
            <p:spPr bwMode="auto">
              <a:xfrm>
                <a:off x="5176" y="1470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31" name="Rectangle 430"/>
              <p:cNvSpPr>
                <a:spLocks noChangeArrowheads="1"/>
              </p:cNvSpPr>
              <p:nvPr/>
            </p:nvSpPr>
            <p:spPr bwMode="auto">
              <a:xfrm>
                <a:off x="5176" y="1470"/>
                <a:ext cx="658" cy="3"/>
              </a:xfrm>
              <a:prstGeom prst="rect">
                <a:avLst/>
              </a:prstGeom>
              <a:solidFill>
                <a:srgbClr val="E3BE3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32" name="Rectangle 431"/>
              <p:cNvSpPr>
                <a:spLocks noChangeArrowheads="1"/>
              </p:cNvSpPr>
              <p:nvPr/>
            </p:nvSpPr>
            <p:spPr bwMode="auto">
              <a:xfrm>
                <a:off x="5176" y="1473"/>
                <a:ext cx="658" cy="3"/>
              </a:xfrm>
              <a:prstGeom prst="rect">
                <a:avLst/>
              </a:prstGeom>
              <a:solidFill>
                <a:srgbClr val="E2BF3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33" name="Picture 201"/>
              <p:cNvPicPr>
                <a:picLocks noChangeAspect="1" noChangeArrowheads="1"/>
              </p:cNvPicPr>
              <p:nvPr/>
            </p:nvPicPr>
            <p:blipFill>
              <a:blip r:embed="rId36" cstate="print"/>
              <a:srcRect/>
              <a:stretch>
                <a:fillRect/>
              </a:stretch>
            </p:blipFill>
            <p:spPr bwMode="auto">
              <a:xfrm>
                <a:off x="5176" y="1473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34" name="Rectangle 433"/>
              <p:cNvSpPr>
                <a:spLocks noChangeArrowheads="1"/>
              </p:cNvSpPr>
              <p:nvPr/>
            </p:nvSpPr>
            <p:spPr bwMode="auto">
              <a:xfrm>
                <a:off x="5176" y="1473"/>
                <a:ext cx="658" cy="3"/>
              </a:xfrm>
              <a:prstGeom prst="rect">
                <a:avLst/>
              </a:prstGeom>
              <a:solidFill>
                <a:srgbClr val="E2BF3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35" name="Rectangle 434"/>
              <p:cNvSpPr>
                <a:spLocks noChangeArrowheads="1"/>
              </p:cNvSpPr>
              <p:nvPr/>
            </p:nvSpPr>
            <p:spPr bwMode="auto">
              <a:xfrm>
                <a:off x="5176" y="1476"/>
                <a:ext cx="658" cy="5"/>
              </a:xfrm>
              <a:prstGeom prst="rect">
                <a:avLst/>
              </a:prstGeom>
              <a:solidFill>
                <a:srgbClr val="E2BD3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36" name="Picture 204"/>
              <p:cNvPicPr>
                <a:picLocks noChangeAspect="1" noChangeArrowheads="1"/>
              </p:cNvPicPr>
              <p:nvPr/>
            </p:nvPicPr>
            <p:blipFill>
              <a:blip r:embed="rId37" cstate="print"/>
              <a:srcRect/>
              <a:stretch>
                <a:fillRect/>
              </a:stretch>
            </p:blipFill>
            <p:spPr bwMode="auto">
              <a:xfrm>
                <a:off x="5176" y="1476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37" name="Rectangle 436"/>
              <p:cNvSpPr>
                <a:spLocks noChangeArrowheads="1"/>
              </p:cNvSpPr>
              <p:nvPr/>
            </p:nvSpPr>
            <p:spPr bwMode="auto">
              <a:xfrm>
                <a:off x="5176" y="1476"/>
                <a:ext cx="658" cy="5"/>
              </a:xfrm>
              <a:prstGeom prst="rect">
                <a:avLst/>
              </a:prstGeom>
              <a:solidFill>
                <a:srgbClr val="E2BD3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38" name="Rectangle 437"/>
              <p:cNvSpPr>
                <a:spLocks noChangeArrowheads="1"/>
              </p:cNvSpPr>
              <p:nvPr/>
            </p:nvSpPr>
            <p:spPr bwMode="auto">
              <a:xfrm>
                <a:off x="5176" y="1481"/>
                <a:ext cx="658" cy="4"/>
              </a:xfrm>
              <a:prstGeom prst="rect">
                <a:avLst/>
              </a:prstGeom>
              <a:solidFill>
                <a:srgbClr val="E1BC3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39" name="Picture 207"/>
              <p:cNvPicPr>
                <a:picLocks noChangeAspect="1" noChangeArrowheads="1"/>
              </p:cNvPicPr>
              <p:nvPr/>
            </p:nvPicPr>
            <p:blipFill>
              <a:blip r:embed="rId38" cstate="print"/>
              <a:srcRect/>
              <a:stretch>
                <a:fillRect/>
              </a:stretch>
            </p:blipFill>
            <p:spPr bwMode="auto">
              <a:xfrm>
                <a:off x="5176" y="1481"/>
                <a:ext cx="658" cy="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40" name="Rectangle 439"/>
              <p:cNvSpPr>
                <a:spLocks noChangeArrowheads="1"/>
              </p:cNvSpPr>
              <p:nvPr/>
            </p:nvSpPr>
            <p:spPr bwMode="auto">
              <a:xfrm>
                <a:off x="5176" y="1481"/>
                <a:ext cx="658" cy="4"/>
              </a:xfrm>
              <a:prstGeom prst="rect">
                <a:avLst/>
              </a:prstGeom>
              <a:solidFill>
                <a:srgbClr val="E1BC3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41" name="Rectangle 440"/>
              <p:cNvSpPr>
                <a:spLocks noChangeArrowheads="1"/>
              </p:cNvSpPr>
              <p:nvPr/>
            </p:nvSpPr>
            <p:spPr bwMode="auto">
              <a:xfrm>
                <a:off x="5176" y="1485"/>
                <a:ext cx="658" cy="4"/>
              </a:xfrm>
              <a:prstGeom prst="rect">
                <a:avLst/>
              </a:prstGeom>
              <a:solidFill>
                <a:srgbClr val="DEBB3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42" name="Picture 210"/>
              <p:cNvPicPr>
                <a:picLocks noChangeAspect="1" noChangeArrowheads="1"/>
              </p:cNvPicPr>
              <p:nvPr/>
            </p:nvPicPr>
            <p:blipFill>
              <a:blip r:embed="rId39" cstate="print"/>
              <a:srcRect/>
              <a:stretch>
                <a:fillRect/>
              </a:stretch>
            </p:blipFill>
            <p:spPr bwMode="auto">
              <a:xfrm>
                <a:off x="5176" y="1485"/>
                <a:ext cx="658" cy="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43" name="Rectangle 442"/>
              <p:cNvSpPr>
                <a:spLocks noChangeArrowheads="1"/>
              </p:cNvSpPr>
              <p:nvPr/>
            </p:nvSpPr>
            <p:spPr bwMode="auto">
              <a:xfrm>
                <a:off x="5176" y="1485"/>
                <a:ext cx="658" cy="4"/>
              </a:xfrm>
              <a:prstGeom prst="rect">
                <a:avLst/>
              </a:prstGeom>
              <a:solidFill>
                <a:srgbClr val="DEBB3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44" name="Rectangle 443"/>
              <p:cNvSpPr>
                <a:spLocks noChangeArrowheads="1"/>
              </p:cNvSpPr>
              <p:nvPr/>
            </p:nvSpPr>
            <p:spPr bwMode="auto">
              <a:xfrm>
                <a:off x="5176" y="1489"/>
                <a:ext cx="658" cy="1"/>
              </a:xfrm>
              <a:prstGeom prst="rect">
                <a:avLst/>
              </a:prstGeom>
              <a:solidFill>
                <a:srgbClr val="DFBB3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45" name="Picture 213"/>
              <p:cNvPicPr>
                <a:picLocks noChangeAspect="1" noChangeArrowheads="1"/>
              </p:cNvPicPr>
              <p:nvPr/>
            </p:nvPicPr>
            <p:blipFill>
              <a:blip r:embed="rId40" cstate="print"/>
              <a:srcRect/>
              <a:stretch>
                <a:fillRect/>
              </a:stretch>
            </p:blipFill>
            <p:spPr bwMode="auto">
              <a:xfrm>
                <a:off x="5176" y="1489"/>
                <a:ext cx="658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46" name="Rectangle 445"/>
              <p:cNvSpPr>
                <a:spLocks noChangeArrowheads="1"/>
              </p:cNvSpPr>
              <p:nvPr/>
            </p:nvSpPr>
            <p:spPr bwMode="auto">
              <a:xfrm>
                <a:off x="5176" y="1489"/>
                <a:ext cx="658" cy="1"/>
              </a:xfrm>
              <a:prstGeom prst="rect">
                <a:avLst/>
              </a:prstGeom>
              <a:solidFill>
                <a:srgbClr val="DFBB3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47" name="Rectangle 446"/>
              <p:cNvSpPr>
                <a:spLocks noChangeArrowheads="1"/>
              </p:cNvSpPr>
              <p:nvPr/>
            </p:nvSpPr>
            <p:spPr bwMode="auto">
              <a:xfrm>
                <a:off x="5176" y="1490"/>
                <a:ext cx="658" cy="3"/>
              </a:xfrm>
              <a:prstGeom prst="rect">
                <a:avLst/>
              </a:prstGeom>
              <a:solidFill>
                <a:srgbClr val="DEBB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48" name="Picture 216"/>
              <p:cNvPicPr>
                <a:picLocks noChangeAspect="1" noChangeArrowheads="1"/>
              </p:cNvPicPr>
              <p:nvPr/>
            </p:nvPicPr>
            <p:blipFill>
              <a:blip r:embed="rId41" cstate="print"/>
              <a:srcRect/>
              <a:stretch>
                <a:fillRect/>
              </a:stretch>
            </p:blipFill>
            <p:spPr bwMode="auto">
              <a:xfrm>
                <a:off x="5176" y="1490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49" name="Rectangle 448"/>
              <p:cNvSpPr>
                <a:spLocks noChangeArrowheads="1"/>
              </p:cNvSpPr>
              <p:nvPr/>
            </p:nvSpPr>
            <p:spPr bwMode="auto">
              <a:xfrm>
                <a:off x="5176" y="1490"/>
                <a:ext cx="658" cy="3"/>
              </a:xfrm>
              <a:prstGeom prst="rect">
                <a:avLst/>
              </a:prstGeom>
              <a:solidFill>
                <a:srgbClr val="DEBB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50" name="Rectangle 449"/>
              <p:cNvSpPr>
                <a:spLocks noChangeArrowheads="1"/>
              </p:cNvSpPr>
              <p:nvPr/>
            </p:nvSpPr>
            <p:spPr bwMode="auto">
              <a:xfrm>
                <a:off x="5176" y="1493"/>
                <a:ext cx="658" cy="3"/>
              </a:xfrm>
              <a:prstGeom prst="rect">
                <a:avLst/>
              </a:prstGeom>
              <a:solidFill>
                <a:srgbClr val="DCBA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51" name="Picture 219"/>
              <p:cNvPicPr>
                <a:picLocks noChangeAspect="1" noChangeArrowheads="1"/>
              </p:cNvPicPr>
              <p:nvPr/>
            </p:nvPicPr>
            <p:blipFill>
              <a:blip r:embed="rId42" cstate="print"/>
              <a:srcRect/>
              <a:stretch>
                <a:fillRect/>
              </a:stretch>
            </p:blipFill>
            <p:spPr bwMode="auto">
              <a:xfrm>
                <a:off x="5176" y="1493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52" name="Rectangle 451"/>
              <p:cNvSpPr>
                <a:spLocks noChangeArrowheads="1"/>
              </p:cNvSpPr>
              <p:nvPr/>
            </p:nvSpPr>
            <p:spPr bwMode="auto">
              <a:xfrm>
                <a:off x="5176" y="1493"/>
                <a:ext cx="658" cy="3"/>
              </a:xfrm>
              <a:prstGeom prst="rect">
                <a:avLst/>
              </a:prstGeom>
              <a:solidFill>
                <a:srgbClr val="DCBA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53" name="Rectangle 452"/>
              <p:cNvSpPr>
                <a:spLocks noChangeArrowheads="1"/>
              </p:cNvSpPr>
              <p:nvPr/>
            </p:nvSpPr>
            <p:spPr bwMode="auto">
              <a:xfrm>
                <a:off x="5176" y="1496"/>
                <a:ext cx="658" cy="2"/>
              </a:xfrm>
              <a:prstGeom prst="rect">
                <a:avLst/>
              </a:prstGeom>
              <a:solidFill>
                <a:srgbClr val="DDB93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54" name="Picture 222"/>
              <p:cNvPicPr>
                <a:picLocks noChangeAspect="1" noChangeArrowheads="1"/>
              </p:cNvPicPr>
              <p:nvPr/>
            </p:nvPicPr>
            <p:blipFill>
              <a:blip r:embed="rId43" cstate="print"/>
              <a:srcRect/>
              <a:stretch>
                <a:fillRect/>
              </a:stretch>
            </p:blipFill>
            <p:spPr bwMode="auto">
              <a:xfrm>
                <a:off x="5176" y="1496"/>
                <a:ext cx="658" cy="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55" name="Rectangle 454"/>
              <p:cNvSpPr>
                <a:spLocks noChangeArrowheads="1"/>
              </p:cNvSpPr>
              <p:nvPr/>
            </p:nvSpPr>
            <p:spPr bwMode="auto">
              <a:xfrm>
                <a:off x="5176" y="1496"/>
                <a:ext cx="658" cy="2"/>
              </a:xfrm>
              <a:prstGeom prst="rect">
                <a:avLst/>
              </a:prstGeom>
              <a:solidFill>
                <a:srgbClr val="DDB93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56" name="Rectangle 455"/>
              <p:cNvSpPr>
                <a:spLocks noChangeArrowheads="1"/>
              </p:cNvSpPr>
              <p:nvPr/>
            </p:nvSpPr>
            <p:spPr bwMode="auto">
              <a:xfrm>
                <a:off x="5176" y="1498"/>
                <a:ext cx="658" cy="5"/>
              </a:xfrm>
              <a:prstGeom prst="rect">
                <a:avLst/>
              </a:prstGeom>
              <a:solidFill>
                <a:srgbClr val="DBB83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57" name="Picture 225"/>
              <p:cNvPicPr>
                <a:picLocks noChangeAspect="1" noChangeArrowheads="1"/>
              </p:cNvPicPr>
              <p:nvPr/>
            </p:nvPicPr>
            <p:blipFill>
              <a:blip r:embed="rId44" cstate="print"/>
              <a:srcRect/>
              <a:stretch>
                <a:fillRect/>
              </a:stretch>
            </p:blipFill>
            <p:spPr bwMode="auto">
              <a:xfrm>
                <a:off x="5176" y="1498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58" name="Rectangle 457"/>
              <p:cNvSpPr>
                <a:spLocks noChangeArrowheads="1"/>
              </p:cNvSpPr>
              <p:nvPr/>
            </p:nvSpPr>
            <p:spPr bwMode="auto">
              <a:xfrm>
                <a:off x="5176" y="1498"/>
                <a:ext cx="658" cy="5"/>
              </a:xfrm>
              <a:prstGeom prst="rect">
                <a:avLst/>
              </a:prstGeom>
              <a:solidFill>
                <a:srgbClr val="DBB83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59" name="Rectangle 458"/>
              <p:cNvSpPr>
                <a:spLocks noChangeArrowheads="1"/>
              </p:cNvSpPr>
              <p:nvPr/>
            </p:nvSpPr>
            <p:spPr bwMode="auto">
              <a:xfrm>
                <a:off x="5176" y="1503"/>
                <a:ext cx="658" cy="3"/>
              </a:xfrm>
              <a:prstGeom prst="rect">
                <a:avLst/>
              </a:prstGeom>
              <a:solidFill>
                <a:srgbClr val="DAB8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60" name="Picture 228"/>
              <p:cNvPicPr>
                <a:picLocks noChangeAspect="1" noChangeArrowheads="1"/>
              </p:cNvPicPr>
              <p:nvPr/>
            </p:nvPicPr>
            <p:blipFill>
              <a:blip r:embed="rId45" cstate="print"/>
              <a:srcRect/>
              <a:stretch>
                <a:fillRect/>
              </a:stretch>
            </p:blipFill>
            <p:spPr bwMode="auto">
              <a:xfrm>
                <a:off x="5176" y="1503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61" name="Rectangle 460"/>
              <p:cNvSpPr>
                <a:spLocks noChangeArrowheads="1"/>
              </p:cNvSpPr>
              <p:nvPr/>
            </p:nvSpPr>
            <p:spPr bwMode="auto">
              <a:xfrm>
                <a:off x="5176" y="1503"/>
                <a:ext cx="658" cy="3"/>
              </a:xfrm>
              <a:prstGeom prst="rect">
                <a:avLst/>
              </a:prstGeom>
              <a:solidFill>
                <a:srgbClr val="DAB8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62" name="Rectangle 461"/>
              <p:cNvSpPr>
                <a:spLocks noChangeArrowheads="1"/>
              </p:cNvSpPr>
              <p:nvPr/>
            </p:nvSpPr>
            <p:spPr bwMode="auto">
              <a:xfrm>
                <a:off x="5176" y="1506"/>
                <a:ext cx="658" cy="5"/>
              </a:xfrm>
              <a:prstGeom prst="rect">
                <a:avLst/>
              </a:prstGeom>
              <a:solidFill>
                <a:srgbClr val="D9B73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63" name="Picture 231"/>
              <p:cNvPicPr>
                <a:picLocks noChangeAspect="1" noChangeArrowheads="1"/>
              </p:cNvPicPr>
              <p:nvPr/>
            </p:nvPicPr>
            <p:blipFill>
              <a:blip r:embed="rId46" cstate="print"/>
              <a:srcRect/>
              <a:stretch>
                <a:fillRect/>
              </a:stretch>
            </p:blipFill>
            <p:spPr bwMode="auto">
              <a:xfrm>
                <a:off x="5176" y="1506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64" name="Rectangle 463"/>
              <p:cNvSpPr>
                <a:spLocks noChangeArrowheads="1"/>
              </p:cNvSpPr>
              <p:nvPr/>
            </p:nvSpPr>
            <p:spPr bwMode="auto">
              <a:xfrm>
                <a:off x="5176" y="1506"/>
                <a:ext cx="658" cy="5"/>
              </a:xfrm>
              <a:prstGeom prst="rect">
                <a:avLst/>
              </a:prstGeom>
              <a:solidFill>
                <a:srgbClr val="D9B73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65" name="Rectangle 464"/>
              <p:cNvSpPr>
                <a:spLocks noChangeArrowheads="1"/>
              </p:cNvSpPr>
              <p:nvPr/>
            </p:nvSpPr>
            <p:spPr bwMode="auto">
              <a:xfrm>
                <a:off x="5176" y="1511"/>
                <a:ext cx="658" cy="3"/>
              </a:xfrm>
              <a:prstGeom prst="rect">
                <a:avLst/>
              </a:prstGeom>
              <a:solidFill>
                <a:srgbClr val="D9B7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66" name="Picture 234"/>
              <p:cNvPicPr>
                <a:picLocks noChangeAspect="1" noChangeArrowheads="1"/>
              </p:cNvPicPr>
              <p:nvPr/>
            </p:nvPicPr>
            <p:blipFill>
              <a:blip r:embed="rId47" cstate="print"/>
              <a:srcRect/>
              <a:stretch>
                <a:fillRect/>
              </a:stretch>
            </p:blipFill>
            <p:spPr bwMode="auto">
              <a:xfrm>
                <a:off x="5176" y="1511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67" name="Rectangle 466"/>
              <p:cNvSpPr>
                <a:spLocks noChangeArrowheads="1"/>
              </p:cNvSpPr>
              <p:nvPr/>
            </p:nvSpPr>
            <p:spPr bwMode="auto">
              <a:xfrm>
                <a:off x="5176" y="1511"/>
                <a:ext cx="658" cy="3"/>
              </a:xfrm>
              <a:prstGeom prst="rect">
                <a:avLst/>
              </a:prstGeom>
              <a:solidFill>
                <a:srgbClr val="D9B7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68" name="Rectangle 467"/>
              <p:cNvSpPr>
                <a:spLocks noChangeArrowheads="1"/>
              </p:cNvSpPr>
              <p:nvPr/>
            </p:nvSpPr>
            <p:spPr bwMode="auto">
              <a:xfrm>
                <a:off x="5176" y="1514"/>
                <a:ext cx="658" cy="5"/>
              </a:xfrm>
              <a:prstGeom prst="rect">
                <a:avLst/>
              </a:prstGeom>
              <a:solidFill>
                <a:srgbClr val="D9B6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69" name="Picture 237"/>
              <p:cNvPicPr>
                <a:picLocks noChangeAspect="1" noChangeArrowheads="1"/>
              </p:cNvPicPr>
              <p:nvPr/>
            </p:nvPicPr>
            <p:blipFill>
              <a:blip r:embed="rId48" cstate="print"/>
              <a:srcRect/>
              <a:stretch>
                <a:fillRect/>
              </a:stretch>
            </p:blipFill>
            <p:spPr bwMode="auto">
              <a:xfrm>
                <a:off x="5176" y="1514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70" name="Rectangle 469"/>
              <p:cNvSpPr>
                <a:spLocks noChangeArrowheads="1"/>
              </p:cNvSpPr>
              <p:nvPr/>
            </p:nvSpPr>
            <p:spPr bwMode="auto">
              <a:xfrm>
                <a:off x="5176" y="1514"/>
                <a:ext cx="658" cy="5"/>
              </a:xfrm>
              <a:prstGeom prst="rect">
                <a:avLst/>
              </a:prstGeom>
              <a:solidFill>
                <a:srgbClr val="D9B6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71" name="Rectangle 470"/>
              <p:cNvSpPr>
                <a:spLocks noChangeArrowheads="1"/>
              </p:cNvSpPr>
              <p:nvPr/>
            </p:nvSpPr>
            <p:spPr bwMode="auto">
              <a:xfrm>
                <a:off x="5176" y="1519"/>
                <a:ext cx="658" cy="3"/>
              </a:xfrm>
              <a:prstGeom prst="rect">
                <a:avLst/>
              </a:prstGeom>
              <a:solidFill>
                <a:srgbClr val="D8B4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72" name="Picture 240"/>
              <p:cNvPicPr>
                <a:picLocks noChangeAspect="1" noChangeArrowheads="1"/>
              </p:cNvPicPr>
              <p:nvPr/>
            </p:nvPicPr>
            <p:blipFill>
              <a:blip r:embed="rId49" cstate="print"/>
              <a:srcRect/>
              <a:stretch>
                <a:fillRect/>
              </a:stretch>
            </p:blipFill>
            <p:spPr bwMode="auto">
              <a:xfrm>
                <a:off x="5176" y="1519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73" name="Rectangle 472"/>
              <p:cNvSpPr>
                <a:spLocks noChangeArrowheads="1"/>
              </p:cNvSpPr>
              <p:nvPr/>
            </p:nvSpPr>
            <p:spPr bwMode="auto">
              <a:xfrm>
                <a:off x="5176" y="1519"/>
                <a:ext cx="658" cy="3"/>
              </a:xfrm>
              <a:prstGeom prst="rect">
                <a:avLst/>
              </a:prstGeom>
              <a:solidFill>
                <a:srgbClr val="D8B4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74" name="Rectangle 473"/>
              <p:cNvSpPr>
                <a:spLocks noChangeArrowheads="1"/>
              </p:cNvSpPr>
              <p:nvPr/>
            </p:nvSpPr>
            <p:spPr bwMode="auto">
              <a:xfrm>
                <a:off x="5176" y="1522"/>
                <a:ext cx="658" cy="1"/>
              </a:xfrm>
              <a:prstGeom prst="rect">
                <a:avLst/>
              </a:prstGeom>
              <a:solidFill>
                <a:srgbClr val="D7B5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75" name="Picture 243"/>
              <p:cNvPicPr>
                <a:picLocks noChangeAspect="1" noChangeArrowheads="1"/>
              </p:cNvPicPr>
              <p:nvPr/>
            </p:nvPicPr>
            <p:blipFill>
              <a:blip r:embed="rId50" cstate="print"/>
              <a:srcRect/>
              <a:stretch>
                <a:fillRect/>
              </a:stretch>
            </p:blipFill>
            <p:spPr bwMode="auto">
              <a:xfrm>
                <a:off x="5176" y="1522"/>
                <a:ext cx="658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76" name="Rectangle 475"/>
              <p:cNvSpPr>
                <a:spLocks noChangeArrowheads="1"/>
              </p:cNvSpPr>
              <p:nvPr/>
            </p:nvSpPr>
            <p:spPr bwMode="auto">
              <a:xfrm>
                <a:off x="5176" y="1522"/>
                <a:ext cx="658" cy="1"/>
              </a:xfrm>
              <a:prstGeom prst="rect">
                <a:avLst/>
              </a:prstGeom>
              <a:solidFill>
                <a:srgbClr val="D7B53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77" name="Rectangle 476"/>
              <p:cNvSpPr>
                <a:spLocks noChangeArrowheads="1"/>
              </p:cNvSpPr>
              <p:nvPr/>
            </p:nvSpPr>
            <p:spPr bwMode="auto">
              <a:xfrm>
                <a:off x="5176" y="1523"/>
                <a:ext cx="658" cy="5"/>
              </a:xfrm>
              <a:prstGeom prst="rect">
                <a:avLst/>
              </a:prstGeom>
              <a:solidFill>
                <a:srgbClr val="D6B4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78" name="Picture 246"/>
              <p:cNvPicPr>
                <a:picLocks noChangeAspect="1" noChangeArrowheads="1"/>
              </p:cNvPicPr>
              <p:nvPr/>
            </p:nvPicPr>
            <p:blipFill>
              <a:blip r:embed="rId51" cstate="print"/>
              <a:srcRect/>
              <a:stretch>
                <a:fillRect/>
              </a:stretch>
            </p:blipFill>
            <p:spPr bwMode="auto">
              <a:xfrm>
                <a:off x="5176" y="1523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79" name="Rectangle 478"/>
              <p:cNvSpPr>
                <a:spLocks noChangeArrowheads="1"/>
              </p:cNvSpPr>
              <p:nvPr/>
            </p:nvSpPr>
            <p:spPr bwMode="auto">
              <a:xfrm>
                <a:off x="5176" y="1523"/>
                <a:ext cx="658" cy="5"/>
              </a:xfrm>
              <a:prstGeom prst="rect">
                <a:avLst/>
              </a:prstGeom>
              <a:solidFill>
                <a:srgbClr val="D6B4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80" name="Rectangle 479"/>
              <p:cNvSpPr>
                <a:spLocks noChangeArrowheads="1"/>
              </p:cNvSpPr>
              <p:nvPr/>
            </p:nvSpPr>
            <p:spPr bwMode="auto">
              <a:xfrm>
                <a:off x="5176" y="1528"/>
                <a:ext cx="658" cy="3"/>
              </a:xfrm>
              <a:prstGeom prst="rect">
                <a:avLst/>
              </a:prstGeom>
              <a:solidFill>
                <a:srgbClr val="D5B3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81" name="Picture 249"/>
              <p:cNvPicPr>
                <a:picLocks noChangeAspect="1" noChangeArrowheads="1"/>
              </p:cNvPicPr>
              <p:nvPr/>
            </p:nvPicPr>
            <p:blipFill>
              <a:blip r:embed="rId52" cstate="print"/>
              <a:srcRect/>
              <a:stretch>
                <a:fillRect/>
              </a:stretch>
            </p:blipFill>
            <p:spPr bwMode="auto">
              <a:xfrm>
                <a:off x="5176" y="1528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82" name="Rectangle 481"/>
              <p:cNvSpPr>
                <a:spLocks noChangeArrowheads="1"/>
              </p:cNvSpPr>
              <p:nvPr/>
            </p:nvSpPr>
            <p:spPr bwMode="auto">
              <a:xfrm>
                <a:off x="5176" y="1528"/>
                <a:ext cx="658" cy="3"/>
              </a:xfrm>
              <a:prstGeom prst="rect">
                <a:avLst/>
              </a:prstGeom>
              <a:solidFill>
                <a:srgbClr val="D5B3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83" name="Rectangle 482"/>
              <p:cNvSpPr>
                <a:spLocks noChangeArrowheads="1"/>
              </p:cNvSpPr>
              <p:nvPr/>
            </p:nvSpPr>
            <p:spPr bwMode="auto">
              <a:xfrm>
                <a:off x="5176" y="1531"/>
                <a:ext cx="658" cy="3"/>
              </a:xfrm>
              <a:prstGeom prst="rect">
                <a:avLst/>
              </a:prstGeom>
              <a:solidFill>
                <a:srgbClr val="D4B3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84" name="Picture 252"/>
              <p:cNvPicPr>
                <a:picLocks noChangeAspect="1" noChangeArrowheads="1"/>
              </p:cNvPicPr>
              <p:nvPr/>
            </p:nvPicPr>
            <p:blipFill>
              <a:blip r:embed="rId53" cstate="print"/>
              <a:srcRect/>
              <a:stretch>
                <a:fillRect/>
              </a:stretch>
            </p:blipFill>
            <p:spPr bwMode="auto">
              <a:xfrm>
                <a:off x="5176" y="1531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85" name="Rectangle 484"/>
              <p:cNvSpPr>
                <a:spLocks noChangeArrowheads="1"/>
              </p:cNvSpPr>
              <p:nvPr/>
            </p:nvSpPr>
            <p:spPr bwMode="auto">
              <a:xfrm>
                <a:off x="5176" y="1531"/>
                <a:ext cx="658" cy="3"/>
              </a:xfrm>
              <a:prstGeom prst="rect">
                <a:avLst/>
              </a:prstGeom>
              <a:solidFill>
                <a:srgbClr val="D4B3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86" name="Rectangle 485"/>
              <p:cNvSpPr>
                <a:spLocks noChangeArrowheads="1"/>
              </p:cNvSpPr>
              <p:nvPr/>
            </p:nvSpPr>
            <p:spPr bwMode="auto">
              <a:xfrm>
                <a:off x="5176" y="1534"/>
                <a:ext cx="658" cy="5"/>
              </a:xfrm>
              <a:prstGeom prst="rect">
                <a:avLst/>
              </a:prstGeom>
              <a:solidFill>
                <a:srgbClr val="D3B1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87" name="Picture 255"/>
              <p:cNvPicPr>
                <a:picLocks noChangeAspect="1" noChangeArrowheads="1"/>
              </p:cNvPicPr>
              <p:nvPr/>
            </p:nvPicPr>
            <p:blipFill>
              <a:blip r:embed="rId54" cstate="print"/>
              <a:srcRect/>
              <a:stretch>
                <a:fillRect/>
              </a:stretch>
            </p:blipFill>
            <p:spPr bwMode="auto">
              <a:xfrm>
                <a:off x="5176" y="1534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88" name="Rectangle 487"/>
              <p:cNvSpPr>
                <a:spLocks noChangeArrowheads="1"/>
              </p:cNvSpPr>
              <p:nvPr/>
            </p:nvSpPr>
            <p:spPr bwMode="auto">
              <a:xfrm>
                <a:off x="5176" y="1534"/>
                <a:ext cx="658" cy="5"/>
              </a:xfrm>
              <a:prstGeom prst="rect">
                <a:avLst/>
              </a:prstGeom>
              <a:solidFill>
                <a:srgbClr val="D3B1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89" name="Rectangle 488"/>
              <p:cNvSpPr>
                <a:spLocks noChangeArrowheads="1"/>
              </p:cNvSpPr>
              <p:nvPr/>
            </p:nvSpPr>
            <p:spPr bwMode="auto">
              <a:xfrm>
                <a:off x="5176" y="1539"/>
                <a:ext cx="658" cy="3"/>
              </a:xfrm>
              <a:prstGeom prst="rect">
                <a:avLst/>
              </a:prstGeom>
              <a:solidFill>
                <a:srgbClr val="D3B1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90" name="Picture 258"/>
              <p:cNvPicPr>
                <a:picLocks noChangeAspect="1" noChangeArrowheads="1"/>
              </p:cNvPicPr>
              <p:nvPr/>
            </p:nvPicPr>
            <p:blipFill>
              <a:blip r:embed="rId55" cstate="print"/>
              <a:srcRect/>
              <a:stretch>
                <a:fillRect/>
              </a:stretch>
            </p:blipFill>
            <p:spPr bwMode="auto">
              <a:xfrm>
                <a:off x="5176" y="1539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91" name="Rectangle 490"/>
              <p:cNvSpPr>
                <a:spLocks noChangeArrowheads="1"/>
              </p:cNvSpPr>
              <p:nvPr/>
            </p:nvSpPr>
            <p:spPr bwMode="auto">
              <a:xfrm>
                <a:off x="5176" y="1539"/>
                <a:ext cx="658" cy="3"/>
              </a:xfrm>
              <a:prstGeom prst="rect">
                <a:avLst/>
              </a:prstGeom>
              <a:solidFill>
                <a:srgbClr val="D3B1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92" name="Rectangle 491"/>
              <p:cNvSpPr>
                <a:spLocks noChangeArrowheads="1"/>
              </p:cNvSpPr>
              <p:nvPr/>
            </p:nvSpPr>
            <p:spPr bwMode="auto">
              <a:xfrm>
                <a:off x="5176" y="1542"/>
                <a:ext cx="658" cy="5"/>
              </a:xfrm>
              <a:prstGeom prst="rect">
                <a:avLst/>
              </a:prstGeom>
              <a:solidFill>
                <a:srgbClr val="D3B0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93" name="Picture 261"/>
              <p:cNvPicPr>
                <a:picLocks noChangeAspect="1" noChangeArrowheads="1"/>
              </p:cNvPicPr>
              <p:nvPr/>
            </p:nvPicPr>
            <p:blipFill>
              <a:blip r:embed="rId56" cstate="print"/>
              <a:srcRect/>
              <a:stretch>
                <a:fillRect/>
              </a:stretch>
            </p:blipFill>
            <p:spPr bwMode="auto">
              <a:xfrm>
                <a:off x="5176" y="1542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94" name="Rectangle 493"/>
              <p:cNvSpPr>
                <a:spLocks noChangeArrowheads="1"/>
              </p:cNvSpPr>
              <p:nvPr/>
            </p:nvSpPr>
            <p:spPr bwMode="auto">
              <a:xfrm>
                <a:off x="5176" y="1542"/>
                <a:ext cx="658" cy="5"/>
              </a:xfrm>
              <a:prstGeom prst="rect">
                <a:avLst/>
              </a:prstGeom>
              <a:solidFill>
                <a:srgbClr val="D3B0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95" name="Rectangle 494"/>
              <p:cNvSpPr>
                <a:spLocks noChangeArrowheads="1"/>
              </p:cNvSpPr>
              <p:nvPr/>
            </p:nvSpPr>
            <p:spPr bwMode="auto">
              <a:xfrm>
                <a:off x="5176" y="1547"/>
                <a:ext cx="658" cy="3"/>
              </a:xfrm>
              <a:prstGeom prst="rect">
                <a:avLst/>
              </a:prstGeom>
              <a:solidFill>
                <a:srgbClr val="D1B0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96" name="Picture 264"/>
              <p:cNvPicPr>
                <a:picLocks noChangeAspect="1" noChangeArrowheads="1"/>
              </p:cNvPicPr>
              <p:nvPr/>
            </p:nvPicPr>
            <p:blipFill>
              <a:blip r:embed="rId57" cstate="print"/>
              <a:srcRect/>
              <a:stretch>
                <a:fillRect/>
              </a:stretch>
            </p:blipFill>
            <p:spPr bwMode="auto">
              <a:xfrm>
                <a:off x="5176" y="1547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97" name="Rectangle 496"/>
              <p:cNvSpPr>
                <a:spLocks noChangeArrowheads="1"/>
              </p:cNvSpPr>
              <p:nvPr/>
            </p:nvSpPr>
            <p:spPr bwMode="auto">
              <a:xfrm>
                <a:off x="5176" y="1547"/>
                <a:ext cx="658" cy="3"/>
              </a:xfrm>
              <a:prstGeom prst="rect">
                <a:avLst/>
              </a:prstGeom>
              <a:solidFill>
                <a:srgbClr val="D1B0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498" name="Rectangle 497"/>
              <p:cNvSpPr>
                <a:spLocks noChangeArrowheads="1"/>
              </p:cNvSpPr>
              <p:nvPr/>
            </p:nvSpPr>
            <p:spPr bwMode="auto">
              <a:xfrm>
                <a:off x="5176" y="1550"/>
                <a:ext cx="658" cy="5"/>
              </a:xfrm>
              <a:prstGeom prst="rect">
                <a:avLst/>
              </a:prstGeom>
              <a:solidFill>
                <a:srgbClr val="D0AF3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499" name="Picture 267"/>
              <p:cNvPicPr>
                <a:picLocks noChangeAspect="1" noChangeArrowheads="1"/>
              </p:cNvPicPr>
              <p:nvPr/>
            </p:nvPicPr>
            <p:blipFill>
              <a:blip r:embed="rId58" cstate="print"/>
              <a:srcRect/>
              <a:stretch>
                <a:fillRect/>
              </a:stretch>
            </p:blipFill>
            <p:spPr bwMode="auto">
              <a:xfrm>
                <a:off x="5176" y="1550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00" name="Rectangle 499"/>
              <p:cNvSpPr>
                <a:spLocks noChangeArrowheads="1"/>
              </p:cNvSpPr>
              <p:nvPr/>
            </p:nvSpPr>
            <p:spPr bwMode="auto">
              <a:xfrm>
                <a:off x="5176" y="1550"/>
                <a:ext cx="658" cy="5"/>
              </a:xfrm>
              <a:prstGeom prst="rect">
                <a:avLst/>
              </a:prstGeom>
              <a:solidFill>
                <a:srgbClr val="D0AF3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01" name="Rectangle 500"/>
              <p:cNvSpPr>
                <a:spLocks noChangeArrowheads="1"/>
              </p:cNvSpPr>
              <p:nvPr/>
            </p:nvSpPr>
            <p:spPr bwMode="auto">
              <a:xfrm>
                <a:off x="5176" y="1555"/>
                <a:ext cx="658" cy="5"/>
              </a:xfrm>
              <a:prstGeom prst="rect">
                <a:avLst/>
              </a:prstGeom>
              <a:solidFill>
                <a:srgbClr val="CFAF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02" name="Picture 270"/>
              <p:cNvPicPr>
                <a:picLocks noChangeAspect="1" noChangeArrowheads="1"/>
              </p:cNvPicPr>
              <p:nvPr/>
            </p:nvPicPr>
            <p:blipFill>
              <a:blip r:embed="rId59" cstate="print"/>
              <a:srcRect/>
              <a:stretch>
                <a:fillRect/>
              </a:stretch>
            </p:blipFill>
            <p:spPr bwMode="auto">
              <a:xfrm>
                <a:off x="5176" y="1555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03" name="Rectangle 502"/>
              <p:cNvSpPr>
                <a:spLocks noChangeArrowheads="1"/>
              </p:cNvSpPr>
              <p:nvPr/>
            </p:nvSpPr>
            <p:spPr bwMode="auto">
              <a:xfrm>
                <a:off x="5176" y="1555"/>
                <a:ext cx="658" cy="5"/>
              </a:xfrm>
              <a:prstGeom prst="rect">
                <a:avLst/>
              </a:prstGeom>
              <a:solidFill>
                <a:srgbClr val="CFAF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04" name="Rectangle 503"/>
              <p:cNvSpPr>
                <a:spLocks noChangeArrowheads="1"/>
              </p:cNvSpPr>
              <p:nvPr/>
            </p:nvSpPr>
            <p:spPr bwMode="auto">
              <a:xfrm>
                <a:off x="5176" y="1560"/>
                <a:ext cx="658" cy="3"/>
              </a:xfrm>
              <a:prstGeom prst="rect">
                <a:avLst/>
              </a:prstGeom>
              <a:solidFill>
                <a:srgbClr val="CFAD3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05" name="Picture 273"/>
              <p:cNvPicPr>
                <a:picLocks noChangeAspect="1" noChangeArrowheads="1"/>
              </p:cNvPicPr>
              <p:nvPr/>
            </p:nvPicPr>
            <p:blipFill>
              <a:blip r:embed="rId60" cstate="print"/>
              <a:srcRect/>
              <a:stretch>
                <a:fillRect/>
              </a:stretch>
            </p:blipFill>
            <p:spPr bwMode="auto">
              <a:xfrm>
                <a:off x="5176" y="1560"/>
                <a:ext cx="658" cy="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06" name="Rectangle 505"/>
              <p:cNvSpPr>
                <a:spLocks noChangeArrowheads="1"/>
              </p:cNvSpPr>
              <p:nvPr/>
            </p:nvSpPr>
            <p:spPr bwMode="auto">
              <a:xfrm>
                <a:off x="5176" y="1560"/>
                <a:ext cx="658" cy="3"/>
              </a:xfrm>
              <a:prstGeom prst="rect">
                <a:avLst/>
              </a:prstGeom>
              <a:solidFill>
                <a:srgbClr val="CFAD3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07" name="Rectangle 506"/>
              <p:cNvSpPr>
                <a:spLocks noChangeArrowheads="1"/>
              </p:cNvSpPr>
              <p:nvPr/>
            </p:nvSpPr>
            <p:spPr bwMode="auto">
              <a:xfrm>
                <a:off x="5176" y="1563"/>
                <a:ext cx="658" cy="2"/>
              </a:xfrm>
              <a:prstGeom prst="rect">
                <a:avLst/>
              </a:prstGeom>
              <a:solidFill>
                <a:srgbClr val="CFAE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08" name="Picture 276"/>
              <p:cNvPicPr>
                <a:picLocks noChangeAspect="1" noChangeArrowheads="1"/>
              </p:cNvPicPr>
              <p:nvPr/>
            </p:nvPicPr>
            <p:blipFill>
              <a:blip r:embed="rId61" cstate="print"/>
              <a:srcRect/>
              <a:stretch>
                <a:fillRect/>
              </a:stretch>
            </p:blipFill>
            <p:spPr bwMode="auto">
              <a:xfrm>
                <a:off x="5176" y="1563"/>
                <a:ext cx="658" cy="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09" name="Rectangle 508"/>
              <p:cNvSpPr>
                <a:spLocks noChangeArrowheads="1"/>
              </p:cNvSpPr>
              <p:nvPr/>
            </p:nvSpPr>
            <p:spPr bwMode="auto">
              <a:xfrm>
                <a:off x="5176" y="1563"/>
                <a:ext cx="658" cy="2"/>
              </a:xfrm>
              <a:prstGeom prst="rect">
                <a:avLst/>
              </a:prstGeom>
              <a:solidFill>
                <a:srgbClr val="CFAE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10" name="Rectangle 509"/>
              <p:cNvSpPr>
                <a:spLocks noChangeArrowheads="1"/>
              </p:cNvSpPr>
              <p:nvPr/>
            </p:nvSpPr>
            <p:spPr bwMode="auto">
              <a:xfrm>
                <a:off x="5176" y="1565"/>
                <a:ext cx="658" cy="4"/>
              </a:xfrm>
              <a:prstGeom prst="rect">
                <a:avLst/>
              </a:prstGeom>
              <a:solidFill>
                <a:srgbClr val="CDAD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11" name="Picture 279"/>
              <p:cNvPicPr>
                <a:picLocks noChangeAspect="1" noChangeArrowheads="1"/>
              </p:cNvPicPr>
              <p:nvPr/>
            </p:nvPicPr>
            <p:blipFill>
              <a:blip r:embed="rId62" cstate="print"/>
              <a:srcRect/>
              <a:stretch>
                <a:fillRect/>
              </a:stretch>
            </p:blipFill>
            <p:spPr bwMode="auto">
              <a:xfrm>
                <a:off x="5176" y="1565"/>
                <a:ext cx="658" cy="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12" name="Rectangle 511"/>
              <p:cNvSpPr>
                <a:spLocks noChangeArrowheads="1"/>
              </p:cNvSpPr>
              <p:nvPr/>
            </p:nvSpPr>
            <p:spPr bwMode="auto">
              <a:xfrm>
                <a:off x="5176" y="1565"/>
                <a:ext cx="658" cy="4"/>
              </a:xfrm>
              <a:prstGeom prst="rect">
                <a:avLst/>
              </a:prstGeom>
              <a:solidFill>
                <a:srgbClr val="CDAD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13" name="Rectangle 512"/>
              <p:cNvSpPr>
                <a:spLocks noChangeArrowheads="1"/>
              </p:cNvSpPr>
              <p:nvPr/>
            </p:nvSpPr>
            <p:spPr bwMode="auto">
              <a:xfrm>
                <a:off x="5176" y="1569"/>
                <a:ext cx="658" cy="5"/>
              </a:xfrm>
              <a:prstGeom prst="rect">
                <a:avLst/>
              </a:prstGeom>
              <a:solidFill>
                <a:srgbClr val="CDAD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14" name="Picture 282"/>
              <p:cNvPicPr>
                <a:picLocks noChangeAspect="1" noChangeArrowheads="1"/>
              </p:cNvPicPr>
              <p:nvPr/>
            </p:nvPicPr>
            <p:blipFill>
              <a:blip r:embed="rId63" cstate="print"/>
              <a:srcRect/>
              <a:stretch>
                <a:fillRect/>
              </a:stretch>
            </p:blipFill>
            <p:spPr bwMode="auto">
              <a:xfrm>
                <a:off x="5176" y="1569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15" name="Rectangle 514"/>
              <p:cNvSpPr>
                <a:spLocks noChangeArrowheads="1"/>
              </p:cNvSpPr>
              <p:nvPr/>
            </p:nvSpPr>
            <p:spPr bwMode="auto">
              <a:xfrm>
                <a:off x="5176" y="1569"/>
                <a:ext cx="658" cy="5"/>
              </a:xfrm>
              <a:prstGeom prst="rect">
                <a:avLst/>
              </a:prstGeom>
              <a:solidFill>
                <a:srgbClr val="CDAD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16" name="Rectangle 515"/>
              <p:cNvSpPr>
                <a:spLocks noChangeArrowheads="1"/>
              </p:cNvSpPr>
              <p:nvPr/>
            </p:nvSpPr>
            <p:spPr bwMode="auto">
              <a:xfrm>
                <a:off x="5176" y="1574"/>
                <a:ext cx="658" cy="5"/>
              </a:xfrm>
              <a:prstGeom prst="rect">
                <a:avLst/>
              </a:prstGeom>
              <a:solidFill>
                <a:srgbClr val="CDAB3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17" name="Picture 285"/>
              <p:cNvPicPr>
                <a:picLocks noChangeAspect="1" noChangeArrowheads="1"/>
              </p:cNvPicPr>
              <p:nvPr/>
            </p:nvPicPr>
            <p:blipFill>
              <a:blip r:embed="rId64" cstate="print"/>
              <a:srcRect/>
              <a:stretch>
                <a:fillRect/>
              </a:stretch>
            </p:blipFill>
            <p:spPr bwMode="auto">
              <a:xfrm>
                <a:off x="5176" y="1574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18" name="Rectangle 517"/>
              <p:cNvSpPr>
                <a:spLocks noChangeArrowheads="1"/>
              </p:cNvSpPr>
              <p:nvPr/>
            </p:nvSpPr>
            <p:spPr bwMode="auto">
              <a:xfrm>
                <a:off x="5176" y="1574"/>
                <a:ext cx="658" cy="5"/>
              </a:xfrm>
              <a:prstGeom prst="rect">
                <a:avLst/>
              </a:prstGeom>
              <a:solidFill>
                <a:srgbClr val="CDAB3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19" name="Rectangle 518"/>
              <p:cNvSpPr>
                <a:spLocks noChangeArrowheads="1"/>
              </p:cNvSpPr>
              <p:nvPr/>
            </p:nvSpPr>
            <p:spPr bwMode="auto">
              <a:xfrm>
                <a:off x="5176" y="1579"/>
                <a:ext cx="658" cy="4"/>
              </a:xfrm>
              <a:prstGeom prst="rect">
                <a:avLst/>
              </a:prstGeom>
              <a:solidFill>
                <a:srgbClr val="CCAC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20" name="Picture 288"/>
              <p:cNvPicPr>
                <a:picLocks noChangeAspect="1" noChangeArrowheads="1"/>
              </p:cNvPicPr>
              <p:nvPr/>
            </p:nvPicPr>
            <p:blipFill>
              <a:blip r:embed="rId65" cstate="print"/>
              <a:srcRect/>
              <a:stretch>
                <a:fillRect/>
              </a:stretch>
            </p:blipFill>
            <p:spPr bwMode="auto">
              <a:xfrm>
                <a:off x="5176" y="1579"/>
                <a:ext cx="658" cy="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21" name="Rectangle 520"/>
              <p:cNvSpPr>
                <a:spLocks noChangeArrowheads="1"/>
              </p:cNvSpPr>
              <p:nvPr/>
            </p:nvSpPr>
            <p:spPr bwMode="auto">
              <a:xfrm>
                <a:off x="5176" y="1579"/>
                <a:ext cx="658" cy="4"/>
              </a:xfrm>
              <a:prstGeom prst="rect">
                <a:avLst/>
              </a:prstGeom>
              <a:solidFill>
                <a:srgbClr val="CCAC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22" name="Rectangle 521"/>
              <p:cNvSpPr>
                <a:spLocks noChangeArrowheads="1"/>
              </p:cNvSpPr>
              <p:nvPr/>
            </p:nvSpPr>
            <p:spPr bwMode="auto">
              <a:xfrm>
                <a:off x="5176" y="1583"/>
                <a:ext cx="658" cy="5"/>
              </a:xfrm>
              <a:prstGeom prst="rect">
                <a:avLst/>
              </a:prstGeom>
              <a:solidFill>
                <a:srgbClr val="CBAA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23" name="Picture 291"/>
              <p:cNvPicPr>
                <a:picLocks noChangeAspect="1" noChangeArrowheads="1"/>
              </p:cNvPicPr>
              <p:nvPr/>
            </p:nvPicPr>
            <p:blipFill>
              <a:blip r:embed="rId66" cstate="print"/>
              <a:srcRect/>
              <a:stretch>
                <a:fillRect/>
              </a:stretch>
            </p:blipFill>
            <p:spPr bwMode="auto">
              <a:xfrm>
                <a:off x="5176" y="1583"/>
                <a:ext cx="658" cy="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24" name="Rectangle 523"/>
              <p:cNvSpPr>
                <a:spLocks noChangeArrowheads="1"/>
              </p:cNvSpPr>
              <p:nvPr/>
            </p:nvSpPr>
            <p:spPr bwMode="auto">
              <a:xfrm>
                <a:off x="5176" y="1583"/>
                <a:ext cx="658" cy="5"/>
              </a:xfrm>
              <a:prstGeom prst="rect">
                <a:avLst/>
              </a:prstGeom>
              <a:solidFill>
                <a:srgbClr val="CBAA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25" name="Rectangle 524"/>
              <p:cNvSpPr>
                <a:spLocks noChangeArrowheads="1"/>
              </p:cNvSpPr>
              <p:nvPr/>
            </p:nvSpPr>
            <p:spPr bwMode="auto">
              <a:xfrm>
                <a:off x="5176" y="1588"/>
                <a:ext cx="658" cy="1"/>
              </a:xfrm>
              <a:prstGeom prst="rect">
                <a:avLst/>
              </a:prstGeom>
              <a:solidFill>
                <a:srgbClr val="CBAB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26" name="Picture 294"/>
              <p:cNvPicPr>
                <a:picLocks noChangeAspect="1" noChangeArrowheads="1"/>
              </p:cNvPicPr>
              <p:nvPr/>
            </p:nvPicPr>
            <p:blipFill>
              <a:blip r:embed="rId67" cstate="print"/>
              <a:srcRect/>
              <a:stretch>
                <a:fillRect/>
              </a:stretch>
            </p:blipFill>
            <p:spPr bwMode="auto">
              <a:xfrm>
                <a:off x="5176" y="1588"/>
                <a:ext cx="658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27" name="Rectangle 526"/>
              <p:cNvSpPr>
                <a:spLocks noChangeArrowheads="1"/>
              </p:cNvSpPr>
              <p:nvPr/>
            </p:nvSpPr>
            <p:spPr bwMode="auto">
              <a:xfrm>
                <a:off x="5176" y="1588"/>
                <a:ext cx="658" cy="1"/>
              </a:xfrm>
              <a:prstGeom prst="rect">
                <a:avLst/>
              </a:prstGeom>
              <a:solidFill>
                <a:srgbClr val="CBAB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28" name="Rectangle 527"/>
              <p:cNvSpPr>
                <a:spLocks noChangeArrowheads="1"/>
              </p:cNvSpPr>
              <p:nvPr/>
            </p:nvSpPr>
            <p:spPr bwMode="auto">
              <a:xfrm>
                <a:off x="5176" y="1589"/>
                <a:ext cx="658" cy="7"/>
              </a:xfrm>
              <a:prstGeom prst="rect">
                <a:avLst/>
              </a:prstGeom>
              <a:solidFill>
                <a:srgbClr val="CBA9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29" name="Picture 297"/>
              <p:cNvPicPr>
                <a:picLocks noChangeAspect="1" noChangeArrowheads="1"/>
              </p:cNvPicPr>
              <p:nvPr/>
            </p:nvPicPr>
            <p:blipFill>
              <a:blip r:embed="rId68" cstate="print"/>
              <a:srcRect/>
              <a:stretch>
                <a:fillRect/>
              </a:stretch>
            </p:blipFill>
            <p:spPr bwMode="auto">
              <a:xfrm>
                <a:off x="5176" y="1589"/>
                <a:ext cx="658" cy="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30" name="Rectangle 529"/>
              <p:cNvSpPr>
                <a:spLocks noChangeArrowheads="1"/>
              </p:cNvSpPr>
              <p:nvPr/>
            </p:nvSpPr>
            <p:spPr bwMode="auto">
              <a:xfrm>
                <a:off x="5176" y="1589"/>
                <a:ext cx="658" cy="7"/>
              </a:xfrm>
              <a:prstGeom prst="rect">
                <a:avLst/>
              </a:prstGeom>
              <a:solidFill>
                <a:srgbClr val="CBA9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31" name="Rectangle 530"/>
              <p:cNvSpPr>
                <a:spLocks noChangeArrowheads="1"/>
              </p:cNvSpPr>
              <p:nvPr/>
            </p:nvSpPr>
            <p:spPr bwMode="auto">
              <a:xfrm>
                <a:off x="5176" y="1596"/>
                <a:ext cx="658" cy="1"/>
              </a:xfrm>
              <a:prstGeom prst="rect">
                <a:avLst/>
              </a:prstGeom>
              <a:solidFill>
                <a:srgbClr val="C9AA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32" name="Picture 300"/>
              <p:cNvPicPr>
                <a:picLocks noChangeAspect="1" noChangeArrowheads="1"/>
              </p:cNvPicPr>
              <p:nvPr/>
            </p:nvPicPr>
            <p:blipFill>
              <a:blip r:embed="rId69" cstate="print"/>
              <a:srcRect/>
              <a:stretch>
                <a:fillRect/>
              </a:stretch>
            </p:blipFill>
            <p:spPr bwMode="auto">
              <a:xfrm>
                <a:off x="5176" y="1596"/>
                <a:ext cx="658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33" name="Rectangle 532"/>
              <p:cNvSpPr>
                <a:spLocks noChangeArrowheads="1"/>
              </p:cNvSpPr>
              <p:nvPr/>
            </p:nvSpPr>
            <p:spPr bwMode="auto">
              <a:xfrm>
                <a:off x="5176" y="1596"/>
                <a:ext cx="658" cy="1"/>
              </a:xfrm>
              <a:prstGeom prst="rect">
                <a:avLst/>
              </a:prstGeom>
              <a:solidFill>
                <a:srgbClr val="C9AA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sp>
            <p:nvSpPr>
              <p:cNvPr id="534" name="Rectangle 533"/>
              <p:cNvSpPr>
                <a:spLocks noChangeArrowheads="1"/>
              </p:cNvSpPr>
              <p:nvPr/>
            </p:nvSpPr>
            <p:spPr bwMode="auto">
              <a:xfrm>
                <a:off x="5176" y="1597"/>
                <a:ext cx="658" cy="6"/>
              </a:xfrm>
              <a:prstGeom prst="rect">
                <a:avLst/>
              </a:prstGeom>
              <a:solidFill>
                <a:srgbClr val="C9A8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15000"/>
                  </a:spcAft>
                  <a:buSzPct val="70000"/>
                  <a:buFont typeface="Wingdings" pitchFamily="2" charset="2"/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+mn-cs"/>
                  </a:defRPr>
                </a:lvl9pPr>
              </a:lstStyle>
              <a:p>
                <a:endParaRPr lang="fr-FR"/>
              </a:p>
            </p:txBody>
          </p:sp>
          <p:pic>
            <p:nvPicPr>
              <p:cNvPr id="535" name="Picture 303"/>
              <p:cNvPicPr>
                <a:picLocks noChangeAspect="1" noChangeArrowheads="1"/>
              </p:cNvPicPr>
              <p:nvPr/>
            </p:nvPicPr>
            <p:blipFill>
              <a:blip r:embed="rId70" cstate="print"/>
              <a:srcRect/>
              <a:stretch>
                <a:fillRect/>
              </a:stretch>
            </p:blipFill>
            <p:spPr bwMode="auto">
              <a:xfrm>
                <a:off x="5176" y="1597"/>
                <a:ext cx="658" cy="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98" name="Rectangle 297"/>
            <p:cNvSpPr>
              <a:spLocks noChangeArrowheads="1"/>
            </p:cNvSpPr>
            <p:nvPr/>
          </p:nvSpPr>
          <p:spPr bwMode="auto">
            <a:xfrm>
              <a:off x="5176" y="1597"/>
              <a:ext cx="658" cy="6"/>
            </a:xfrm>
            <a:prstGeom prst="rect">
              <a:avLst/>
            </a:prstGeom>
            <a:solidFill>
              <a:srgbClr val="C9A8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299" name="Rectangle 298"/>
            <p:cNvSpPr>
              <a:spLocks noChangeArrowheads="1"/>
            </p:cNvSpPr>
            <p:nvPr/>
          </p:nvSpPr>
          <p:spPr bwMode="auto">
            <a:xfrm>
              <a:off x="5176" y="1603"/>
              <a:ext cx="658" cy="5"/>
            </a:xfrm>
            <a:prstGeom prst="rect">
              <a:avLst/>
            </a:prstGeom>
            <a:solidFill>
              <a:srgbClr val="C9A9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00" name="Picture 307"/>
            <p:cNvPicPr>
              <a:picLocks noChangeAspect="1" noChangeArrowheads="1"/>
            </p:cNvPicPr>
            <p:nvPr/>
          </p:nvPicPr>
          <p:blipFill>
            <a:blip r:embed="rId71" cstate="print"/>
            <a:srcRect/>
            <a:stretch>
              <a:fillRect/>
            </a:stretch>
          </p:blipFill>
          <p:spPr bwMode="auto">
            <a:xfrm>
              <a:off x="5176" y="1603"/>
              <a:ext cx="658" cy="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1" name="Rectangle 300"/>
            <p:cNvSpPr>
              <a:spLocks noChangeArrowheads="1"/>
            </p:cNvSpPr>
            <p:nvPr/>
          </p:nvSpPr>
          <p:spPr bwMode="auto">
            <a:xfrm>
              <a:off x="5176" y="1603"/>
              <a:ext cx="658" cy="5"/>
            </a:xfrm>
            <a:prstGeom prst="rect">
              <a:avLst/>
            </a:prstGeom>
            <a:solidFill>
              <a:srgbClr val="C9A9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02" name="Rectangle 301"/>
            <p:cNvSpPr>
              <a:spLocks noChangeArrowheads="1"/>
            </p:cNvSpPr>
            <p:nvPr/>
          </p:nvSpPr>
          <p:spPr bwMode="auto">
            <a:xfrm>
              <a:off x="5176" y="1608"/>
              <a:ext cx="658" cy="6"/>
            </a:xfrm>
            <a:prstGeom prst="rect">
              <a:avLst/>
            </a:prstGeom>
            <a:solidFill>
              <a:srgbClr val="C8A7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03" name="Picture 310"/>
            <p:cNvPicPr>
              <a:picLocks noChangeAspect="1" noChangeArrowheads="1"/>
            </p:cNvPicPr>
            <p:nvPr/>
          </p:nvPicPr>
          <p:blipFill>
            <a:blip r:embed="rId72" cstate="print"/>
            <a:srcRect/>
            <a:stretch>
              <a:fillRect/>
            </a:stretch>
          </p:blipFill>
          <p:spPr bwMode="auto">
            <a:xfrm>
              <a:off x="5176" y="1608"/>
              <a:ext cx="658" cy="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4" name="Rectangle 303"/>
            <p:cNvSpPr>
              <a:spLocks noChangeArrowheads="1"/>
            </p:cNvSpPr>
            <p:nvPr/>
          </p:nvSpPr>
          <p:spPr bwMode="auto">
            <a:xfrm>
              <a:off x="5176" y="1608"/>
              <a:ext cx="658" cy="6"/>
            </a:xfrm>
            <a:prstGeom prst="rect">
              <a:avLst/>
            </a:prstGeom>
            <a:solidFill>
              <a:srgbClr val="C8A7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05" name="Rectangle 304"/>
            <p:cNvSpPr>
              <a:spLocks noChangeArrowheads="1"/>
            </p:cNvSpPr>
            <p:nvPr/>
          </p:nvSpPr>
          <p:spPr bwMode="auto">
            <a:xfrm>
              <a:off x="5176" y="1614"/>
              <a:ext cx="658" cy="7"/>
            </a:xfrm>
            <a:prstGeom prst="rect">
              <a:avLst/>
            </a:prstGeom>
            <a:solidFill>
              <a:srgbClr val="C7A7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06" name="Picture 313"/>
            <p:cNvPicPr>
              <a:picLocks noChangeAspect="1" noChangeArrowheads="1"/>
            </p:cNvPicPr>
            <p:nvPr/>
          </p:nvPicPr>
          <p:blipFill>
            <a:blip r:embed="rId73" cstate="print"/>
            <a:srcRect/>
            <a:stretch>
              <a:fillRect/>
            </a:stretch>
          </p:blipFill>
          <p:spPr bwMode="auto">
            <a:xfrm>
              <a:off x="5176" y="1614"/>
              <a:ext cx="658" cy="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7" name="Rectangle 306"/>
            <p:cNvSpPr>
              <a:spLocks noChangeArrowheads="1"/>
            </p:cNvSpPr>
            <p:nvPr/>
          </p:nvSpPr>
          <p:spPr bwMode="auto">
            <a:xfrm>
              <a:off x="5176" y="1614"/>
              <a:ext cx="658" cy="7"/>
            </a:xfrm>
            <a:prstGeom prst="rect">
              <a:avLst/>
            </a:prstGeom>
            <a:solidFill>
              <a:srgbClr val="C7A7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08" name="Rectangle 307"/>
            <p:cNvSpPr>
              <a:spLocks noChangeArrowheads="1"/>
            </p:cNvSpPr>
            <p:nvPr/>
          </p:nvSpPr>
          <p:spPr bwMode="auto">
            <a:xfrm>
              <a:off x="5176" y="1621"/>
              <a:ext cx="658" cy="6"/>
            </a:xfrm>
            <a:prstGeom prst="rect">
              <a:avLst/>
            </a:prstGeom>
            <a:solidFill>
              <a:srgbClr val="C7A7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09" name="Picture 316"/>
            <p:cNvPicPr>
              <a:picLocks noChangeAspect="1" noChangeArrowheads="1"/>
            </p:cNvPicPr>
            <p:nvPr/>
          </p:nvPicPr>
          <p:blipFill>
            <a:blip r:embed="rId74" cstate="print"/>
            <a:srcRect/>
            <a:stretch>
              <a:fillRect/>
            </a:stretch>
          </p:blipFill>
          <p:spPr bwMode="auto">
            <a:xfrm>
              <a:off x="5176" y="1621"/>
              <a:ext cx="658" cy="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0" name="Rectangle 309"/>
            <p:cNvSpPr>
              <a:spLocks noChangeArrowheads="1"/>
            </p:cNvSpPr>
            <p:nvPr/>
          </p:nvSpPr>
          <p:spPr bwMode="auto">
            <a:xfrm>
              <a:off x="5176" y="1621"/>
              <a:ext cx="658" cy="6"/>
            </a:xfrm>
            <a:prstGeom prst="rect">
              <a:avLst/>
            </a:prstGeom>
            <a:solidFill>
              <a:srgbClr val="C7A7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11" name="Rectangle 310"/>
            <p:cNvSpPr>
              <a:spLocks noChangeArrowheads="1"/>
            </p:cNvSpPr>
            <p:nvPr/>
          </p:nvSpPr>
          <p:spPr bwMode="auto">
            <a:xfrm>
              <a:off x="5176" y="1627"/>
              <a:ext cx="658" cy="6"/>
            </a:xfrm>
            <a:prstGeom prst="rect">
              <a:avLst/>
            </a:prstGeom>
            <a:solidFill>
              <a:srgbClr val="C5A6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12" name="Picture 319"/>
            <p:cNvPicPr>
              <a:picLocks noChangeAspect="1" noChangeArrowheads="1"/>
            </p:cNvPicPr>
            <p:nvPr/>
          </p:nvPicPr>
          <p:blipFill>
            <a:blip r:embed="rId75" cstate="print"/>
            <a:srcRect/>
            <a:stretch>
              <a:fillRect/>
            </a:stretch>
          </p:blipFill>
          <p:spPr bwMode="auto">
            <a:xfrm>
              <a:off x="5176" y="1627"/>
              <a:ext cx="658" cy="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3" name="Rectangle 312"/>
            <p:cNvSpPr>
              <a:spLocks noChangeArrowheads="1"/>
            </p:cNvSpPr>
            <p:nvPr/>
          </p:nvSpPr>
          <p:spPr bwMode="auto">
            <a:xfrm>
              <a:off x="5176" y="1627"/>
              <a:ext cx="658" cy="6"/>
            </a:xfrm>
            <a:prstGeom prst="rect">
              <a:avLst/>
            </a:prstGeom>
            <a:solidFill>
              <a:srgbClr val="C5A6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14" name="Rectangle 313"/>
            <p:cNvSpPr>
              <a:spLocks noChangeArrowheads="1"/>
            </p:cNvSpPr>
            <p:nvPr/>
          </p:nvSpPr>
          <p:spPr bwMode="auto">
            <a:xfrm>
              <a:off x="5176" y="1633"/>
              <a:ext cx="658" cy="8"/>
            </a:xfrm>
            <a:prstGeom prst="rect">
              <a:avLst/>
            </a:prstGeom>
            <a:solidFill>
              <a:srgbClr val="C6A6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15" name="Picture 322"/>
            <p:cNvPicPr>
              <a:picLocks noChangeAspect="1" noChangeArrowheads="1"/>
            </p:cNvPicPr>
            <p:nvPr/>
          </p:nvPicPr>
          <p:blipFill>
            <a:blip r:embed="rId76" cstate="print"/>
            <a:srcRect/>
            <a:stretch>
              <a:fillRect/>
            </a:stretch>
          </p:blipFill>
          <p:spPr bwMode="auto">
            <a:xfrm>
              <a:off x="5176" y="1633"/>
              <a:ext cx="658" cy="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6" name="Rectangle 315"/>
            <p:cNvSpPr>
              <a:spLocks noChangeArrowheads="1"/>
            </p:cNvSpPr>
            <p:nvPr/>
          </p:nvSpPr>
          <p:spPr bwMode="auto">
            <a:xfrm>
              <a:off x="5176" y="1633"/>
              <a:ext cx="658" cy="8"/>
            </a:xfrm>
            <a:prstGeom prst="rect">
              <a:avLst/>
            </a:prstGeom>
            <a:solidFill>
              <a:srgbClr val="C6A6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17" name="Rectangle 316"/>
            <p:cNvSpPr>
              <a:spLocks noChangeArrowheads="1"/>
            </p:cNvSpPr>
            <p:nvPr/>
          </p:nvSpPr>
          <p:spPr bwMode="auto">
            <a:xfrm>
              <a:off x="5176" y="1641"/>
              <a:ext cx="658" cy="10"/>
            </a:xfrm>
            <a:prstGeom prst="rect">
              <a:avLst/>
            </a:prstGeom>
            <a:solidFill>
              <a:srgbClr val="C5A6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18" name="Picture 325"/>
            <p:cNvPicPr>
              <a:picLocks noChangeAspect="1" noChangeArrowheads="1"/>
            </p:cNvPicPr>
            <p:nvPr/>
          </p:nvPicPr>
          <p:blipFill>
            <a:blip r:embed="rId77" cstate="print"/>
            <a:srcRect/>
            <a:stretch>
              <a:fillRect/>
            </a:stretch>
          </p:blipFill>
          <p:spPr bwMode="auto">
            <a:xfrm>
              <a:off x="5176" y="1641"/>
              <a:ext cx="658" cy="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9" name="Rectangle 318"/>
            <p:cNvSpPr>
              <a:spLocks noChangeArrowheads="1"/>
            </p:cNvSpPr>
            <p:nvPr/>
          </p:nvSpPr>
          <p:spPr bwMode="auto">
            <a:xfrm>
              <a:off x="5176" y="1641"/>
              <a:ext cx="658" cy="10"/>
            </a:xfrm>
            <a:prstGeom prst="rect">
              <a:avLst/>
            </a:prstGeom>
            <a:solidFill>
              <a:srgbClr val="C5A6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20" name="Rectangle 319"/>
            <p:cNvSpPr>
              <a:spLocks noChangeArrowheads="1"/>
            </p:cNvSpPr>
            <p:nvPr/>
          </p:nvSpPr>
          <p:spPr bwMode="auto">
            <a:xfrm>
              <a:off x="5176" y="1651"/>
              <a:ext cx="658" cy="9"/>
            </a:xfrm>
            <a:prstGeom prst="rect">
              <a:avLst/>
            </a:prstGeom>
            <a:solidFill>
              <a:srgbClr val="C4A4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21" name="Picture 328"/>
            <p:cNvPicPr>
              <a:picLocks noChangeAspect="1" noChangeArrowheads="1"/>
            </p:cNvPicPr>
            <p:nvPr/>
          </p:nvPicPr>
          <p:blipFill>
            <a:blip r:embed="rId78" cstate="print"/>
            <a:srcRect/>
            <a:stretch>
              <a:fillRect/>
            </a:stretch>
          </p:blipFill>
          <p:spPr bwMode="auto">
            <a:xfrm>
              <a:off x="5176" y="1651"/>
              <a:ext cx="658" cy="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2" name="Rectangle 321"/>
            <p:cNvSpPr>
              <a:spLocks noChangeArrowheads="1"/>
            </p:cNvSpPr>
            <p:nvPr/>
          </p:nvSpPr>
          <p:spPr bwMode="auto">
            <a:xfrm>
              <a:off x="5176" y="1651"/>
              <a:ext cx="658" cy="9"/>
            </a:xfrm>
            <a:prstGeom prst="rect">
              <a:avLst/>
            </a:prstGeom>
            <a:solidFill>
              <a:srgbClr val="C4A4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23" name="Rectangle 322"/>
            <p:cNvSpPr>
              <a:spLocks noChangeArrowheads="1"/>
            </p:cNvSpPr>
            <p:nvPr/>
          </p:nvSpPr>
          <p:spPr bwMode="auto">
            <a:xfrm>
              <a:off x="5176" y="1660"/>
              <a:ext cx="658" cy="12"/>
            </a:xfrm>
            <a:prstGeom prst="rect">
              <a:avLst/>
            </a:prstGeom>
            <a:solidFill>
              <a:srgbClr val="C4A4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24" name="Picture 331"/>
            <p:cNvPicPr>
              <a:picLocks noChangeAspect="1" noChangeArrowheads="1"/>
            </p:cNvPicPr>
            <p:nvPr/>
          </p:nvPicPr>
          <p:blipFill>
            <a:blip r:embed="rId79" cstate="print"/>
            <a:srcRect/>
            <a:stretch>
              <a:fillRect/>
            </a:stretch>
          </p:blipFill>
          <p:spPr bwMode="auto">
            <a:xfrm>
              <a:off x="5176" y="1660"/>
              <a:ext cx="658" cy="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5" name="Rectangle 324"/>
            <p:cNvSpPr>
              <a:spLocks noChangeArrowheads="1"/>
            </p:cNvSpPr>
            <p:nvPr/>
          </p:nvSpPr>
          <p:spPr bwMode="auto">
            <a:xfrm>
              <a:off x="5176" y="1660"/>
              <a:ext cx="658" cy="12"/>
            </a:xfrm>
            <a:prstGeom prst="rect">
              <a:avLst/>
            </a:prstGeom>
            <a:solidFill>
              <a:srgbClr val="C4A4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26" name="Rectangle 325"/>
            <p:cNvSpPr>
              <a:spLocks noChangeArrowheads="1"/>
            </p:cNvSpPr>
            <p:nvPr/>
          </p:nvSpPr>
          <p:spPr bwMode="auto">
            <a:xfrm>
              <a:off x="5176" y="1672"/>
              <a:ext cx="658" cy="12"/>
            </a:xfrm>
            <a:prstGeom prst="rect">
              <a:avLst/>
            </a:prstGeom>
            <a:solidFill>
              <a:srgbClr val="C2A4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27" name="Picture 334"/>
            <p:cNvPicPr>
              <a:picLocks noChangeAspect="1" noChangeArrowheads="1"/>
            </p:cNvPicPr>
            <p:nvPr/>
          </p:nvPicPr>
          <p:blipFill>
            <a:blip r:embed="rId80" cstate="print"/>
            <a:srcRect/>
            <a:stretch>
              <a:fillRect/>
            </a:stretch>
          </p:blipFill>
          <p:spPr bwMode="auto">
            <a:xfrm>
              <a:off x="5176" y="1672"/>
              <a:ext cx="658" cy="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" name="Rectangle 327"/>
            <p:cNvSpPr>
              <a:spLocks noChangeArrowheads="1"/>
            </p:cNvSpPr>
            <p:nvPr/>
          </p:nvSpPr>
          <p:spPr bwMode="auto">
            <a:xfrm>
              <a:off x="5176" y="1672"/>
              <a:ext cx="658" cy="12"/>
            </a:xfrm>
            <a:prstGeom prst="rect">
              <a:avLst/>
            </a:prstGeom>
            <a:solidFill>
              <a:srgbClr val="C2A4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29" name="Rectangle 328"/>
            <p:cNvSpPr>
              <a:spLocks noChangeArrowheads="1"/>
            </p:cNvSpPr>
            <p:nvPr/>
          </p:nvSpPr>
          <p:spPr bwMode="auto">
            <a:xfrm>
              <a:off x="5176" y="1684"/>
              <a:ext cx="658" cy="16"/>
            </a:xfrm>
            <a:prstGeom prst="rect">
              <a:avLst/>
            </a:prstGeom>
            <a:solidFill>
              <a:srgbClr val="C3A33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30" name="Picture 337"/>
            <p:cNvPicPr>
              <a:picLocks noChangeAspect="1" noChangeArrowheads="1"/>
            </p:cNvPicPr>
            <p:nvPr/>
          </p:nvPicPr>
          <p:blipFill>
            <a:blip r:embed="rId81" cstate="print"/>
            <a:srcRect/>
            <a:stretch>
              <a:fillRect/>
            </a:stretch>
          </p:blipFill>
          <p:spPr bwMode="auto">
            <a:xfrm>
              <a:off x="5176" y="1684"/>
              <a:ext cx="658" cy="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1" name="Rectangle 330"/>
            <p:cNvSpPr>
              <a:spLocks noChangeArrowheads="1"/>
            </p:cNvSpPr>
            <p:nvPr/>
          </p:nvSpPr>
          <p:spPr bwMode="auto">
            <a:xfrm>
              <a:off x="5176" y="1684"/>
              <a:ext cx="658" cy="16"/>
            </a:xfrm>
            <a:prstGeom prst="rect">
              <a:avLst/>
            </a:prstGeom>
            <a:solidFill>
              <a:srgbClr val="C3A33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32" name="Rectangle 331"/>
            <p:cNvSpPr>
              <a:spLocks noChangeArrowheads="1"/>
            </p:cNvSpPr>
            <p:nvPr/>
          </p:nvSpPr>
          <p:spPr bwMode="auto">
            <a:xfrm>
              <a:off x="5176" y="1700"/>
              <a:ext cx="658" cy="12"/>
            </a:xfrm>
            <a:prstGeom prst="rect">
              <a:avLst/>
            </a:prstGeom>
            <a:solidFill>
              <a:srgbClr val="C1A3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pic>
          <p:nvPicPr>
            <p:cNvPr id="333" name="Picture 340"/>
            <p:cNvPicPr>
              <a:picLocks noChangeAspect="1" noChangeArrowheads="1"/>
            </p:cNvPicPr>
            <p:nvPr/>
          </p:nvPicPr>
          <p:blipFill>
            <a:blip r:embed="rId82" cstate="print"/>
            <a:srcRect/>
            <a:stretch>
              <a:fillRect/>
            </a:stretch>
          </p:blipFill>
          <p:spPr bwMode="auto">
            <a:xfrm>
              <a:off x="5176" y="1700"/>
              <a:ext cx="658" cy="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4" name="Rectangle 333"/>
            <p:cNvSpPr>
              <a:spLocks noChangeArrowheads="1"/>
            </p:cNvSpPr>
            <p:nvPr/>
          </p:nvSpPr>
          <p:spPr bwMode="auto">
            <a:xfrm>
              <a:off x="5176" y="1700"/>
              <a:ext cx="658" cy="12"/>
            </a:xfrm>
            <a:prstGeom prst="rect">
              <a:avLst/>
            </a:prstGeom>
            <a:solidFill>
              <a:srgbClr val="C1A3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35" name="Rectangle 334"/>
            <p:cNvSpPr>
              <a:spLocks noChangeArrowheads="1"/>
            </p:cNvSpPr>
            <p:nvPr/>
          </p:nvSpPr>
          <p:spPr bwMode="auto">
            <a:xfrm>
              <a:off x="5176" y="1712"/>
              <a:ext cx="658" cy="8"/>
            </a:xfrm>
            <a:prstGeom prst="rect">
              <a:avLst/>
            </a:prstGeom>
            <a:solidFill>
              <a:srgbClr val="C2A3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</p:grpSp>
      <p:sp>
        <p:nvSpPr>
          <p:cNvPr id="17" name="Freeform 593"/>
          <p:cNvSpPr>
            <a:spLocks noEditPoints="1"/>
          </p:cNvSpPr>
          <p:nvPr/>
        </p:nvSpPr>
        <p:spPr bwMode="auto">
          <a:xfrm>
            <a:off x="4727848" y="3573015"/>
            <a:ext cx="2088000" cy="108000"/>
          </a:xfrm>
          <a:custGeom>
            <a:avLst/>
            <a:gdLst/>
            <a:ahLst/>
            <a:cxnLst>
              <a:cxn ang="0">
                <a:pos x="4917" y="113"/>
              </a:cxn>
              <a:cxn ang="0">
                <a:pos x="167" y="117"/>
              </a:cxn>
              <a:cxn ang="0">
                <a:pos x="150" y="100"/>
              </a:cxn>
              <a:cxn ang="0">
                <a:pos x="167" y="83"/>
              </a:cxn>
              <a:cxn ang="0">
                <a:pos x="4917" y="79"/>
              </a:cxn>
              <a:cxn ang="0">
                <a:pos x="4933" y="96"/>
              </a:cxn>
              <a:cxn ang="0">
                <a:pos x="4917" y="113"/>
              </a:cxn>
              <a:cxn ang="0">
                <a:pos x="200" y="200"/>
              </a:cxn>
              <a:cxn ang="0">
                <a:pos x="0" y="100"/>
              </a:cxn>
              <a:cxn ang="0">
                <a:pos x="200" y="0"/>
              </a:cxn>
              <a:cxn ang="0">
                <a:pos x="200" y="200"/>
              </a:cxn>
            </a:cxnLst>
            <a:rect l="0" t="0" r="r" b="b"/>
            <a:pathLst>
              <a:path w="4933" h="200">
                <a:moveTo>
                  <a:pt x="4917" y="113"/>
                </a:moveTo>
                <a:lnTo>
                  <a:pt x="167" y="117"/>
                </a:lnTo>
                <a:cubicBezTo>
                  <a:pt x="157" y="117"/>
                  <a:pt x="150" y="109"/>
                  <a:pt x="150" y="100"/>
                </a:cubicBezTo>
                <a:cubicBezTo>
                  <a:pt x="150" y="91"/>
                  <a:pt x="157" y="83"/>
                  <a:pt x="167" y="83"/>
                </a:cubicBezTo>
                <a:lnTo>
                  <a:pt x="4917" y="79"/>
                </a:lnTo>
                <a:cubicBezTo>
                  <a:pt x="4926" y="79"/>
                  <a:pt x="4933" y="87"/>
                  <a:pt x="4933" y="96"/>
                </a:cubicBezTo>
                <a:cubicBezTo>
                  <a:pt x="4933" y="105"/>
                  <a:pt x="4926" y="113"/>
                  <a:pt x="4917" y="113"/>
                </a:cubicBezTo>
                <a:close/>
                <a:moveTo>
                  <a:pt x="200" y="200"/>
                </a:moveTo>
                <a:lnTo>
                  <a:pt x="0" y="100"/>
                </a:lnTo>
                <a:lnTo>
                  <a:pt x="200" y="0"/>
                </a:lnTo>
                <a:lnTo>
                  <a:pt x="200" y="200"/>
                </a:lnTo>
                <a:close/>
              </a:path>
            </a:pathLst>
          </a:custGeom>
          <a:solidFill>
            <a:srgbClr val="000000"/>
          </a:solidFill>
          <a:ln w="28575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2855640" y="3140969"/>
            <a:ext cx="1872208" cy="1224136"/>
          </a:xfrm>
          <a:prstGeom prst="rect">
            <a:avLst/>
          </a:prstGeom>
          <a:solidFill>
            <a:srgbClr val="254064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algn="dist"/>
            <a:endParaRPr lang="fr-FR" sz="2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dist"/>
            <a:r>
              <a:rPr lang="fr-FR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ATA</a:t>
            </a: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5375920" y="5229200"/>
            <a:ext cx="388843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r>
              <a:rPr lang="fr-FR" sz="2200" b="1" dirty="0">
                <a:solidFill>
                  <a:srgbClr val="000000"/>
                </a:solidFill>
              </a:rPr>
              <a:t>Transfert de la RDIA reçue à BNP</a:t>
            </a:r>
            <a:endParaRPr lang="fr-FR" sz="2200" b="1" dirty="0"/>
          </a:p>
        </p:txBody>
      </p:sp>
      <p:sp>
        <p:nvSpPr>
          <p:cNvPr id="22" name="Text Box 669"/>
          <p:cNvSpPr txBox="1">
            <a:spLocks noChangeArrowheads="1"/>
          </p:cNvSpPr>
          <p:nvPr/>
        </p:nvSpPr>
        <p:spPr bwMode="auto">
          <a:xfrm>
            <a:off x="6816080" y="3284986"/>
            <a:ext cx="3312368" cy="959681"/>
          </a:xfrm>
          <a:prstGeom prst="rect">
            <a:avLst/>
          </a:prstGeom>
          <a:solidFill>
            <a:srgbClr val="FFC000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lIns="18000" tIns="18000" rIns="18000" bIns="18000"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algn="just"/>
            <a:r>
              <a:rPr lang="fr-FR" sz="2000" b="1" dirty="0"/>
              <a:t>Paiement à</a:t>
            </a:r>
            <a:r>
              <a:rPr lang="fr-FR" sz="2000" b="1" dirty="0">
                <a:solidFill>
                  <a:srgbClr val="FF0000"/>
                </a:solidFill>
              </a:rPr>
              <a:t> IATA </a:t>
            </a:r>
            <a:r>
              <a:rPr lang="fr-FR" sz="2000" b="1" dirty="0"/>
              <a:t>par les Compagnies  soumises au  paiement à</a:t>
            </a:r>
            <a:r>
              <a:rPr lang="fr-FR" sz="2000" b="1" dirty="0">
                <a:solidFill>
                  <a:srgbClr val="FF0000"/>
                </a:solidFill>
              </a:rPr>
              <a:t> terme</a:t>
            </a:r>
          </a:p>
        </p:txBody>
      </p:sp>
      <p:sp>
        <p:nvSpPr>
          <p:cNvPr id="23" name="Text Box 670"/>
          <p:cNvSpPr txBox="1">
            <a:spLocks noChangeArrowheads="1"/>
          </p:cNvSpPr>
          <p:nvPr/>
        </p:nvSpPr>
        <p:spPr bwMode="auto">
          <a:xfrm>
            <a:off x="6744072" y="1484786"/>
            <a:ext cx="3096344" cy="9596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18000" tIns="18000" rIns="18000" bIns="18000"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algn="just"/>
            <a:r>
              <a:rPr lang="fr-FR" sz="2000" b="1" dirty="0"/>
              <a:t>RDIA collectée par les </a:t>
            </a:r>
            <a:r>
              <a:rPr lang="fr-FR" sz="2000" b="1" dirty="0">
                <a:solidFill>
                  <a:srgbClr val="FF0000"/>
                </a:solidFill>
              </a:rPr>
              <a:t>ADS</a:t>
            </a:r>
            <a:r>
              <a:rPr lang="fr-FR" sz="2000" b="1" dirty="0"/>
              <a:t> sur les Compagnies soumises au paiement au </a:t>
            </a:r>
            <a:r>
              <a:rPr lang="fr-FR" sz="2000" b="1" dirty="0">
                <a:solidFill>
                  <a:srgbClr val="FF0000"/>
                </a:solidFill>
              </a:rPr>
              <a:t>comptant</a:t>
            </a:r>
          </a:p>
        </p:txBody>
      </p:sp>
      <p:grpSp>
        <p:nvGrpSpPr>
          <p:cNvPr id="4" name="Group 708"/>
          <p:cNvGrpSpPr>
            <a:grpSpLocks/>
          </p:cNvGrpSpPr>
          <p:nvPr/>
        </p:nvGrpSpPr>
        <p:grpSpPr bwMode="auto">
          <a:xfrm>
            <a:off x="2639616" y="4797153"/>
            <a:ext cx="2736304" cy="1008112"/>
            <a:chOff x="4052" y="2611"/>
            <a:chExt cx="550" cy="231"/>
          </a:xfrm>
        </p:grpSpPr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4052" y="2611"/>
              <a:ext cx="550" cy="23"/>
            </a:xfrm>
            <a:prstGeom prst="rect">
              <a:avLst/>
            </a:prstGeom>
            <a:solidFill>
              <a:srgbClr val="A0303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4052" y="2634"/>
              <a:ext cx="550" cy="18"/>
            </a:xfrm>
            <a:prstGeom prst="rect">
              <a:avLst/>
            </a:prstGeom>
            <a:solidFill>
              <a:srgbClr val="9E2F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4052" y="2652"/>
              <a:ext cx="550" cy="13"/>
            </a:xfrm>
            <a:prstGeom prst="rect">
              <a:avLst/>
            </a:prstGeom>
            <a:solidFill>
              <a:srgbClr val="9C2F3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4052" y="2665"/>
              <a:ext cx="550" cy="9"/>
            </a:xfrm>
            <a:prstGeom prst="rect">
              <a:avLst/>
            </a:prstGeom>
            <a:solidFill>
              <a:srgbClr val="9A2E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4052" y="2674"/>
              <a:ext cx="550" cy="9"/>
            </a:xfrm>
            <a:prstGeom prst="rect">
              <a:avLst/>
            </a:prstGeom>
            <a:solidFill>
              <a:srgbClr val="982D3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4052" y="2683"/>
              <a:ext cx="550" cy="7"/>
            </a:xfrm>
            <a:prstGeom prst="rect">
              <a:avLst/>
            </a:prstGeom>
            <a:solidFill>
              <a:srgbClr val="962D3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4052" y="2690"/>
              <a:ext cx="550" cy="7"/>
            </a:xfrm>
            <a:prstGeom prst="rect">
              <a:avLst/>
            </a:prstGeom>
            <a:solidFill>
              <a:srgbClr val="942D2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4052" y="2697"/>
              <a:ext cx="550" cy="7"/>
            </a:xfrm>
            <a:prstGeom prst="rect">
              <a:avLst/>
            </a:prstGeom>
            <a:solidFill>
              <a:srgbClr val="922C2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>
              <a:off x="4052" y="2704"/>
              <a:ext cx="550" cy="5"/>
            </a:xfrm>
            <a:prstGeom prst="rect">
              <a:avLst/>
            </a:prstGeom>
            <a:solidFill>
              <a:srgbClr val="902B2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>
              <a:off x="4052" y="2709"/>
              <a:ext cx="550" cy="6"/>
            </a:xfrm>
            <a:prstGeom prst="rect">
              <a:avLst/>
            </a:prstGeom>
            <a:solidFill>
              <a:srgbClr val="8E2B2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8" name="Rectangle 37"/>
            <p:cNvSpPr>
              <a:spLocks noChangeArrowheads="1"/>
            </p:cNvSpPr>
            <p:nvPr/>
          </p:nvSpPr>
          <p:spPr bwMode="auto">
            <a:xfrm>
              <a:off x="4052" y="2715"/>
              <a:ext cx="550" cy="6"/>
            </a:xfrm>
            <a:prstGeom prst="rect">
              <a:avLst/>
            </a:prstGeom>
            <a:solidFill>
              <a:srgbClr val="8C2A2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39" name="Rectangle 38"/>
            <p:cNvSpPr>
              <a:spLocks noChangeArrowheads="1"/>
            </p:cNvSpPr>
            <p:nvPr/>
          </p:nvSpPr>
          <p:spPr bwMode="auto">
            <a:xfrm>
              <a:off x="4052" y="2721"/>
              <a:ext cx="550" cy="5"/>
            </a:xfrm>
            <a:prstGeom prst="rect">
              <a:avLst/>
            </a:prstGeom>
            <a:solidFill>
              <a:srgbClr val="8A2A2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40" name="Rectangle 39"/>
            <p:cNvSpPr>
              <a:spLocks noChangeArrowheads="1"/>
            </p:cNvSpPr>
            <p:nvPr/>
          </p:nvSpPr>
          <p:spPr bwMode="auto">
            <a:xfrm>
              <a:off x="4052" y="2726"/>
              <a:ext cx="550" cy="4"/>
            </a:xfrm>
            <a:prstGeom prst="rect">
              <a:avLst/>
            </a:prstGeom>
            <a:solidFill>
              <a:srgbClr val="88292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auto">
            <a:xfrm>
              <a:off x="4052" y="2730"/>
              <a:ext cx="550" cy="6"/>
            </a:xfrm>
            <a:prstGeom prst="rect">
              <a:avLst/>
            </a:prstGeom>
            <a:solidFill>
              <a:srgbClr val="86282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auto">
            <a:xfrm>
              <a:off x="4052" y="2736"/>
              <a:ext cx="550" cy="5"/>
            </a:xfrm>
            <a:prstGeom prst="rect">
              <a:avLst/>
            </a:prstGeom>
            <a:solidFill>
              <a:srgbClr val="84282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4052" y="2741"/>
              <a:ext cx="550" cy="5"/>
            </a:xfrm>
            <a:prstGeom prst="rect">
              <a:avLst/>
            </a:prstGeom>
            <a:solidFill>
              <a:srgbClr val="82272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auto">
            <a:xfrm>
              <a:off x="4052" y="2746"/>
              <a:ext cx="550" cy="1"/>
            </a:xfrm>
            <a:prstGeom prst="rect">
              <a:avLst/>
            </a:prstGeom>
            <a:solidFill>
              <a:srgbClr val="80272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auto">
            <a:xfrm>
              <a:off x="4052" y="2747"/>
              <a:ext cx="550" cy="5"/>
            </a:xfrm>
            <a:prstGeom prst="rect">
              <a:avLst/>
            </a:prstGeom>
            <a:solidFill>
              <a:srgbClr val="80252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auto">
            <a:xfrm>
              <a:off x="4052" y="2752"/>
              <a:ext cx="550" cy="5"/>
            </a:xfrm>
            <a:prstGeom prst="rect">
              <a:avLst/>
            </a:prstGeom>
            <a:solidFill>
              <a:srgbClr val="7E252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47" name="Rectangle 46"/>
            <p:cNvSpPr>
              <a:spLocks noChangeArrowheads="1"/>
            </p:cNvSpPr>
            <p:nvPr/>
          </p:nvSpPr>
          <p:spPr bwMode="auto">
            <a:xfrm>
              <a:off x="4052" y="2757"/>
              <a:ext cx="550" cy="6"/>
            </a:xfrm>
            <a:prstGeom prst="rect">
              <a:avLst/>
            </a:prstGeom>
            <a:solidFill>
              <a:srgbClr val="7C252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48" name="Rectangle 47"/>
            <p:cNvSpPr>
              <a:spLocks noChangeArrowheads="1"/>
            </p:cNvSpPr>
            <p:nvPr/>
          </p:nvSpPr>
          <p:spPr bwMode="auto">
            <a:xfrm>
              <a:off x="4052" y="2763"/>
              <a:ext cx="550" cy="5"/>
            </a:xfrm>
            <a:prstGeom prst="rect">
              <a:avLst/>
            </a:prstGeom>
            <a:solidFill>
              <a:srgbClr val="7A242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49" name="Rectangle 48"/>
            <p:cNvSpPr>
              <a:spLocks noChangeArrowheads="1"/>
            </p:cNvSpPr>
            <p:nvPr/>
          </p:nvSpPr>
          <p:spPr bwMode="auto">
            <a:xfrm>
              <a:off x="4052" y="2768"/>
              <a:ext cx="550" cy="3"/>
            </a:xfrm>
            <a:prstGeom prst="rect">
              <a:avLst/>
            </a:prstGeom>
            <a:solidFill>
              <a:srgbClr val="79242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50" name="Rectangle 49"/>
            <p:cNvSpPr>
              <a:spLocks noChangeArrowheads="1"/>
            </p:cNvSpPr>
            <p:nvPr/>
          </p:nvSpPr>
          <p:spPr bwMode="auto">
            <a:xfrm>
              <a:off x="4052" y="2771"/>
              <a:ext cx="550" cy="6"/>
            </a:xfrm>
            <a:prstGeom prst="rect">
              <a:avLst/>
            </a:prstGeom>
            <a:solidFill>
              <a:srgbClr val="77232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51" name="Rectangle 50"/>
            <p:cNvSpPr>
              <a:spLocks noChangeArrowheads="1"/>
            </p:cNvSpPr>
            <p:nvPr/>
          </p:nvSpPr>
          <p:spPr bwMode="auto">
            <a:xfrm>
              <a:off x="4052" y="2777"/>
              <a:ext cx="550" cy="6"/>
            </a:xfrm>
            <a:prstGeom prst="rect">
              <a:avLst/>
            </a:prstGeom>
            <a:solidFill>
              <a:srgbClr val="75232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52" name="Rectangle 51"/>
            <p:cNvSpPr>
              <a:spLocks noChangeArrowheads="1"/>
            </p:cNvSpPr>
            <p:nvPr/>
          </p:nvSpPr>
          <p:spPr bwMode="auto">
            <a:xfrm>
              <a:off x="4052" y="2783"/>
              <a:ext cx="550" cy="8"/>
            </a:xfrm>
            <a:prstGeom prst="rect">
              <a:avLst/>
            </a:prstGeom>
            <a:solidFill>
              <a:srgbClr val="73222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53" name="Rectangle 52"/>
            <p:cNvSpPr>
              <a:spLocks noChangeArrowheads="1"/>
            </p:cNvSpPr>
            <p:nvPr/>
          </p:nvSpPr>
          <p:spPr bwMode="auto">
            <a:xfrm>
              <a:off x="4052" y="2791"/>
              <a:ext cx="550" cy="4"/>
            </a:xfrm>
            <a:prstGeom prst="rect">
              <a:avLst/>
            </a:prstGeom>
            <a:solidFill>
              <a:srgbClr val="71222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54" name="Rectangle 53"/>
            <p:cNvSpPr>
              <a:spLocks noChangeArrowheads="1"/>
            </p:cNvSpPr>
            <p:nvPr/>
          </p:nvSpPr>
          <p:spPr bwMode="auto">
            <a:xfrm>
              <a:off x="4052" y="2795"/>
              <a:ext cx="550" cy="10"/>
            </a:xfrm>
            <a:prstGeom prst="rect">
              <a:avLst/>
            </a:prstGeom>
            <a:solidFill>
              <a:srgbClr val="70202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55" name="Rectangle 54"/>
            <p:cNvSpPr>
              <a:spLocks noChangeArrowheads="1"/>
            </p:cNvSpPr>
            <p:nvPr/>
          </p:nvSpPr>
          <p:spPr bwMode="auto">
            <a:xfrm>
              <a:off x="4052" y="2805"/>
              <a:ext cx="550" cy="12"/>
            </a:xfrm>
            <a:prstGeom prst="rect">
              <a:avLst/>
            </a:prstGeom>
            <a:solidFill>
              <a:srgbClr val="6E202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56" name="Rectangle 55"/>
            <p:cNvSpPr>
              <a:spLocks noChangeArrowheads="1"/>
            </p:cNvSpPr>
            <p:nvPr/>
          </p:nvSpPr>
          <p:spPr bwMode="auto">
            <a:xfrm>
              <a:off x="4052" y="2817"/>
              <a:ext cx="550" cy="19"/>
            </a:xfrm>
            <a:prstGeom prst="rect">
              <a:avLst/>
            </a:prstGeom>
            <a:solidFill>
              <a:srgbClr val="6C1F2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  <p:sp>
          <p:nvSpPr>
            <p:cNvPr id="57" name="Rectangle 56"/>
            <p:cNvSpPr>
              <a:spLocks noChangeArrowheads="1"/>
            </p:cNvSpPr>
            <p:nvPr/>
          </p:nvSpPr>
          <p:spPr bwMode="auto">
            <a:xfrm>
              <a:off x="4052" y="2836"/>
              <a:ext cx="550" cy="6"/>
            </a:xfrm>
            <a:prstGeom prst="rect">
              <a:avLst/>
            </a:prstGeom>
            <a:solidFill>
              <a:srgbClr val="6A1F2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15000"/>
                </a:spcAft>
                <a:buSzPct val="70000"/>
                <a:buFont typeface="Wingdings" pitchFamily="2" charset="2"/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Calibri" pitchFamily="34" charset="0"/>
                  <a:ea typeface="+mn-ea"/>
                  <a:cs typeface="+mn-cs"/>
                </a:defRPr>
              </a:lvl9pPr>
            </a:lstStyle>
            <a:p>
              <a:endParaRPr lang="fr-FR"/>
            </a:p>
          </p:txBody>
        </p:sp>
      </p:grpSp>
      <p:sp>
        <p:nvSpPr>
          <p:cNvPr id="25" name="Rectangle 24"/>
          <p:cNvSpPr>
            <a:spLocks noChangeArrowheads="1"/>
          </p:cNvSpPr>
          <p:nvPr/>
        </p:nvSpPr>
        <p:spPr bwMode="auto">
          <a:xfrm>
            <a:off x="3287691" y="5291916"/>
            <a:ext cx="194421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r>
              <a:rPr lang="fr-FR" sz="2400" b="1" i="1" dirty="0">
                <a:solidFill>
                  <a:srgbClr val="335687"/>
                </a:solidFill>
              </a:rPr>
              <a:t>BNP PARIBAS</a:t>
            </a:r>
            <a:endParaRPr lang="fr-FR" sz="2400" b="1" dirty="0">
              <a:solidFill>
                <a:srgbClr val="000000"/>
              </a:solidFill>
            </a:endParaRPr>
          </a:p>
        </p:txBody>
      </p:sp>
      <p:sp>
        <p:nvSpPr>
          <p:cNvPr id="26" name="Text Box 740"/>
          <p:cNvSpPr txBox="1">
            <a:spLocks noChangeArrowheads="1"/>
          </p:cNvSpPr>
          <p:nvPr/>
        </p:nvSpPr>
        <p:spPr bwMode="auto">
          <a:xfrm>
            <a:off x="2855640" y="4931878"/>
            <a:ext cx="2736304" cy="4056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18000" tIns="18000" rIns="18000" bIns="18000"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15000"/>
              </a:spcAft>
              <a:buSzPct val="70000"/>
              <a:buFont typeface="Wingdings" pitchFamily="2" charset="2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fr-FR" sz="2400" b="1" dirty="0">
                <a:solidFill>
                  <a:srgbClr val="FFFFFF"/>
                </a:solidFill>
              </a:rPr>
              <a:t>Compte séquestre</a:t>
            </a:r>
          </a:p>
        </p:txBody>
      </p:sp>
      <p:cxnSp>
        <p:nvCxnSpPr>
          <p:cNvPr id="27" name="AutoShape 744"/>
          <p:cNvCxnSpPr>
            <a:cxnSpLocks noChangeShapeType="1"/>
            <a:stCxn id="18" idx="0"/>
          </p:cNvCxnSpPr>
          <p:nvPr/>
        </p:nvCxnSpPr>
        <p:spPr bwMode="auto">
          <a:xfrm rot="5400000" flipH="1" flipV="1">
            <a:off x="4655841" y="1052736"/>
            <a:ext cx="1224136" cy="2952328"/>
          </a:xfrm>
          <a:prstGeom prst="bentConnector2">
            <a:avLst/>
          </a:prstGeom>
          <a:ln>
            <a:headEnd type="triangle" w="med" len="med"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36" name="ZoneTexte 535"/>
          <p:cNvSpPr txBox="1"/>
          <p:nvPr/>
        </p:nvSpPr>
        <p:spPr>
          <a:xfrm>
            <a:off x="4151784" y="1844824"/>
            <a:ext cx="20882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latin typeface="Calibri" pitchFamily="34" charset="0"/>
              </a:rPr>
              <a:t>Transfert </a:t>
            </a:r>
            <a:r>
              <a:rPr lang="fr-FR" sz="2000" b="1" dirty="0">
                <a:solidFill>
                  <a:srgbClr val="000000"/>
                </a:solidFill>
                <a:latin typeface="Calibri" pitchFamily="34" charset="0"/>
              </a:rPr>
              <a:t>à IATA par les ADS</a:t>
            </a:r>
          </a:p>
        </p:txBody>
      </p:sp>
      <p:cxnSp>
        <p:nvCxnSpPr>
          <p:cNvPr id="538" name="Connecteur droit avec flèche 537"/>
          <p:cNvCxnSpPr>
            <a:stCxn id="18" idx="2"/>
          </p:cNvCxnSpPr>
          <p:nvPr/>
        </p:nvCxnSpPr>
        <p:spPr>
          <a:xfrm>
            <a:off x="3791744" y="4365104"/>
            <a:ext cx="0" cy="5040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3" name="Espace réservé du pied de page 29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30 MARS 2017</a:t>
            </a:r>
            <a:endParaRPr lang="fr-FR"/>
          </a:p>
        </p:txBody>
      </p:sp>
      <p:sp>
        <p:nvSpPr>
          <p:cNvPr id="292" name="Espace réservé du numéro de diapositive 29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815F60-FDCD-4C1D-B3C1-E623E43CE8C4}" type="slidenum">
              <a:rPr lang="fr-FR" smtClean="0"/>
              <a:pPr>
                <a:defRPr/>
              </a:pPr>
              <a:t>9</a:t>
            </a:fld>
            <a:endParaRPr lang="fr-FR"/>
          </a:p>
        </p:txBody>
      </p:sp>
      <p:sp>
        <p:nvSpPr>
          <p:cNvPr id="6" name="ZoneTexte 5"/>
          <p:cNvSpPr txBox="1"/>
          <p:nvPr/>
        </p:nvSpPr>
        <p:spPr>
          <a:xfrm>
            <a:off x="2639616" y="1228207"/>
            <a:ext cx="33123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</a:rPr>
              <a:t>CIRCUIT RDIA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2855640" y="234157"/>
            <a:ext cx="65527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INNOVATION SUR LE MODE DE FINANCEMENT : LA RDIA</a:t>
            </a:r>
          </a:p>
        </p:txBody>
      </p:sp>
      <p:pic>
        <p:nvPicPr>
          <p:cNvPr id="294" name="Shape 280"/>
          <p:cNvPicPr preferRelativeResize="0"/>
          <p:nvPr/>
        </p:nvPicPr>
        <p:blipFill rotWithShape="1">
          <a:blip r:embed="rId8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812425" y="0"/>
            <a:ext cx="998308" cy="952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295" name="Image 294" descr="AIBD sa"/>
          <p:cNvPicPr/>
          <p:nvPr/>
        </p:nvPicPr>
        <p:blipFill>
          <a:blip r:embed="rId8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5" t="2960" r="1625" b="2960"/>
          <a:stretch>
            <a:fillRect/>
          </a:stretch>
        </p:blipFill>
        <p:spPr bwMode="auto">
          <a:xfrm>
            <a:off x="10128448" y="131798"/>
            <a:ext cx="1763688" cy="103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95185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2axeYr1EON2VMt4qB67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SFvjQiSkSymeLMWwmI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0qwXL8oUK1UgIaUcqq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hPMFzCE02TaJpOFQuY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WWetFxnEa7DKgjWvLb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IfvPxYj0eioGX8TLRU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Y6tuJQ.0WpMKTFEtCY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GviRMdrEmqnOrgute1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79HMC2pUGub06nyqaK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fsZpAhakeeZUTiXsUR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xJeOvEvUeFXDjEE5Vp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e3C5pQxk6RBMBjc07n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xp0hdluEyhZmHbmL0B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Pw00We1kqk76_gxXWv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Vv_s7Yy0W2jpxXoln1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QFNyKXo0.TVO04Vv3Zx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OK4D0qhkGXO7zVemSI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rU67W8h0aRIT3UyZJ_r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ZlYsD7J0GsrJDv4nSQ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H9oXn35UWfK2x8DbXW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BM.jYDUShqFybhEZfS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zHPF4wV0yPe_1PeXSQ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aq6wN1E0WhVoIPaB8j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56L2aJqk.2n1cKujHgC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nsfMY1Sku_zk_vtD8J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sDzAErUm45Bt0kHeX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WYk4_o1E.ZA4yof3aNH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kCJRVPj0G.CZDBmtqf2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AsiEwA90u0fMT6HeN6Z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I1bB_8_kWuEM8EXtZ2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caL.PoYkemF49r.Qs9_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MMimzMQ0.YFoX891fx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OiIn8Aukm7191gv.XA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I41z_dc0q3QZl3KJal6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tF5q5Q9EOiNITbiy.l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xL2n_2LU2riWDbCUpj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PqY2vclU.Zrq38m_qqR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llaPD9nkCV2yqEkZfv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.kpHNdQkeNYtn_dpga0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ZYMN5tW0qz080Exznk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81.BgmvU.tlt79SVfs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6jwrOnNU6.ve02G0sv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pA4R01h0eVZFYYS22Q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RlgqrbPkeasjri9LKD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K2sAo_h0arxvm6PZbsM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ywCzoHl02OIPqMBZq8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_7cETgpkeOCVJTHgez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vXXZ_LY0.pGvamYCCvf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KYUyqmkqVA9ozEbQP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Fk5aSjbECikZD1u9Lka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4hSgT1g0mV24NAq5Fq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JwxZSrjk.CzEIhASd4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J97aQDa060eJYa5eM6u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BKdL6faUyrC2Cu8MjeJ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syxvM9pEGgzlM5a6Ce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gOZeQofEmDspXcbKFv4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cqMomHlk6anm__x9q.W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go7DZMpU6YnYW6AM2F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Mn3vqbuEmdLa5kqYpR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bhFfS8f0uv1_ujZBAV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eZCLWvkCEjIKrTwEP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X8UDDj_E20YMIp9n77B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1z_VWA1Em9Bob.86T7O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qZIkBMzU.0OHM3m4BX2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614maBCUK6MtdxfuuIh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uakNTckWoOqxGOXa9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wKmW7.Eku9dKnRaN3YP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r5tsXZ7ki0qSF3Xhbv4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JwxZSrjk.CzEIhASd4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J97aQDa060eJYa5eM6u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BKdL6faUyrC2Cu8MjeJ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syxvM9pEGgzlM5a6Cel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cqMomHlk6anm__x9q.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go7DZMpU6YnYW6AM2F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Mn3vqbuEmdLa5kqYpRF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bhFfS8f0uv1_ujZBAVN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eZCLWvkCEjIKrTwEP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BK5yrYv0y3FxJPl4sXP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X8UDDj_E20YMIp9n77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1z_VWA1Em9Bob.86T7O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qZIkBMzU.0OHM3m4BX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614maBCUK6MtdxfuuIh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uakNTckWoOqxGOXa9N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r5tsXZ7ki0qSF3Xhbv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_n0F1asHU6IOX4Tw0jKqw"/>
</p:tagLst>
</file>

<file path=ppt/theme/theme1.xml><?xml version="1.0" encoding="utf-8"?>
<a:theme xmlns:a="http://schemas.openxmlformats.org/drawingml/2006/main" name="Brin">
  <a:themeElements>
    <a:clrScheme name="Brin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Brin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rin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374</TotalTime>
  <Words>2761</Words>
  <Application>Microsoft Office PowerPoint</Application>
  <PresentationFormat>Grand écran</PresentationFormat>
  <Paragraphs>771</Paragraphs>
  <Slides>45</Slides>
  <Notes>20</Notes>
  <HiddenSlides>0</HiddenSlides>
  <MMClips>0</MMClips>
  <ScaleCrop>false</ScaleCrop>
  <HeadingPairs>
    <vt:vector size="6" baseType="variant">
      <vt:variant>
        <vt:lpstr>Polices utilisées</vt:lpstr>
      </vt:variant>
      <vt:variant>
        <vt:i4>18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45</vt:i4>
      </vt:variant>
    </vt:vector>
  </HeadingPairs>
  <TitlesOfParts>
    <vt:vector size="64" baseType="lpstr">
      <vt:lpstr>ＭＳ Ｐゴシック</vt:lpstr>
      <vt:lpstr>ＭＳ Ｐゴシック</vt:lpstr>
      <vt:lpstr>Aharoni</vt:lpstr>
      <vt:lpstr>Albertus</vt:lpstr>
      <vt:lpstr>Arial</vt:lpstr>
      <vt:lpstr>Arial Black</vt:lpstr>
      <vt:lpstr>Calibri</vt:lpstr>
      <vt:lpstr>Cambria</vt:lpstr>
      <vt:lpstr>Century Gothic</vt:lpstr>
      <vt:lpstr>DIN Alternate</vt:lpstr>
      <vt:lpstr>Futura Condensed</vt:lpstr>
      <vt:lpstr>Noto Sans Symbols</vt:lpstr>
      <vt:lpstr>Palatino Linotype</vt:lpstr>
      <vt:lpstr>Symbol</vt:lpstr>
      <vt:lpstr>Times New Roman</vt:lpstr>
      <vt:lpstr>Verdana</vt:lpstr>
      <vt:lpstr>Wingdings</vt:lpstr>
      <vt:lpstr>Wingdings 3</vt:lpstr>
      <vt:lpstr>Brin</vt:lpstr>
      <vt:lpstr>Programme Phare de Relance du Hub aérien Sous Régional de Dakar </vt:lpstr>
      <vt:lpstr>Présentation PowerPoint</vt:lpstr>
      <vt:lpstr>Présentation PowerPoint</vt:lpstr>
      <vt:lpstr>     Projet de relance du Hub Aérien Régional</vt:lpstr>
      <vt:lpstr>     Projet de relance du Hub Aérien Régiona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COMPARAISON DE DIFFERENTS SITES AEROPORTUAIR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NVIRONNEMENT DU PROJET</vt:lpstr>
      <vt:lpstr>LES CONNECTIVITES ET AUTRES PROJETS</vt:lpstr>
      <vt:lpstr>Présentation PowerPoint</vt:lpstr>
      <vt:lpstr>Présentation PowerPoint</vt:lpstr>
      <vt:lpstr>Présentation PowerPoint</vt:lpstr>
      <vt:lpstr>CONCLUSION :ANALYSE SWOT</vt:lpstr>
      <vt:lpstr>Présentation PowerPoint</vt:lpstr>
      <vt:lpstr>     Projet de relance du Hub Aérien Régional</vt:lpstr>
      <vt:lpstr>Programme de réhabilitation des aérodromes régionaux du Sénégal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     Projet de relance du Hub Aérien Régional</vt:lpstr>
    </vt:vector>
  </TitlesOfParts>
  <Company>Toshib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me Phare de Relance du Hub aérien Sous Régional de Dakar</dc:title>
  <dc:creator>Salif</dc:creator>
  <cp:lastModifiedBy>Salif</cp:lastModifiedBy>
  <cp:revision>61</cp:revision>
  <dcterms:created xsi:type="dcterms:W3CDTF">2017-03-26T21:25:39Z</dcterms:created>
  <dcterms:modified xsi:type="dcterms:W3CDTF">2017-03-29T21:56:23Z</dcterms:modified>
</cp:coreProperties>
</file>